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</p:sldMasterIdLst>
  <p:notesMasterIdLst>
    <p:notesMasterId r:id="rId29"/>
  </p:notesMasterIdLst>
  <p:handoutMasterIdLst>
    <p:handoutMasterId r:id="rId30"/>
  </p:handoutMasterIdLst>
  <p:sldIdLst>
    <p:sldId id="1229" r:id="rId2"/>
    <p:sldId id="1322" r:id="rId3"/>
    <p:sldId id="1323" r:id="rId4"/>
    <p:sldId id="1324" r:id="rId5"/>
    <p:sldId id="1325" r:id="rId6"/>
    <p:sldId id="1326" r:id="rId7"/>
    <p:sldId id="1350" r:id="rId8"/>
    <p:sldId id="1341" r:id="rId9"/>
    <p:sldId id="1345" r:id="rId10"/>
    <p:sldId id="1328" r:id="rId11"/>
    <p:sldId id="1329" r:id="rId12"/>
    <p:sldId id="1330" r:id="rId13"/>
    <p:sldId id="1331" r:id="rId14"/>
    <p:sldId id="1332" r:id="rId15"/>
    <p:sldId id="1333" r:id="rId16"/>
    <p:sldId id="1334" r:id="rId17"/>
    <p:sldId id="1335" r:id="rId18"/>
    <p:sldId id="1336" r:id="rId19"/>
    <p:sldId id="1337" r:id="rId20"/>
    <p:sldId id="1338" r:id="rId21"/>
    <p:sldId id="1346" r:id="rId22"/>
    <p:sldId id="1349" r:id="rId23"/>
    <p:sldId id="1347" r:id="rId24"/>
    <p:sldId id="1348" r:id="rId25"/>
    <p:sldId id="1343" r:id="rId26"/>
    <p:sldId id="1344" r:id="rId27"/>
    <p:sldId id="1339" r:id="rId28"/>
  </p:sldIdLst>
  <p:sldSz cx="9906000" cy="6858000" type="A4"/>
  <p:notesSz cx="6794500" cy="9931400"/>
  <p:custShowLst>
    <p:custShow name="Custom Show 1" id="0">
      <p:sldLst/>
    </p:custShow>
  </p:custShowLst>
  <p:custDataLst>
    <p:tags r:id="rId3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00"/>
    <a:srgbClr val="FFDA65"/>
    <a:srgbClr val="FFFFFF"/>
    <a:srgbClr val="FFCC00"/>
    <a:srgbClr val="E39913"/>
    <a:srgbClr val="F2F2F2"/>
    <a:srgbClr val="FFFF99"/>
    <a:srgbClr val="FFFFCC"/>
    <a:srgbClr val="D8D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211" autoAdjust="0"/>
    <p:restoredTop sz="95252" autoAdjust="0"/>
  </p:normalViewPr>
  <p:slideViewPr>
    <p:cSldViewPr>
      <p:cViewPr>
        <p:scale>
          <a:sx n="90" d="100"/>
          <a:sy n="90" d="100"/>
        </p:scale>
        <p:origin x="-738" y="-408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-3006" y="-108"/>
      </p:cViewPr>
      <p:guideLst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handoutMaster" Target="handoutMasters/handoutMaster1.xml"/><Relationship Id="rId3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9/11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9/11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7713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928" y="4719044"/>
            <a:ext cx="5434648" cy="446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val="19844084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3885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0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smtClean="0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/09/2017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/09/2017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2860" y="0"/>
            <a:ext cx="3599688" cy="3599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349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/09/2017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/09/2017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/09/2017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/09/2017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/09/2017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/09/2017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/09/2017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 smtClean="0"/>
              <a:t>Click icon to add picture</a:t>
            </a:r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/09/2017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4178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525" y="0"/>
            <a:ext cx="908650" cy="90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smtClean="0"/>
              <a:t>Click to edit Master title style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/09/2017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908650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mailto:marek.suchomel@mpsv.cz" TargetMode="External"/><Relationship Id="rId2" Type="http://schemas.openxmlformats.org/officeDocument/2006/relationships/hyperlink" Target="mailto:Jan.skorpik@mpsv.cz" TargetMode="Externa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488380" y="4437140"/>
            <a:ext cx="9001249" cy="1231106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US" sz="3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The Czech </a:t>
            </a:r>
            <a:r>
              <a:rPr lang="en-US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Pension </a:t>
            </a:r>
            <a:r>
              <a:rPr lang="en-US" sz="3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System- the latest policy debate in the EU context</a:t>
            </a:r>
            <a:endParaRPr lang="en-GB" sz="3200" b="1" dirty="0" smtClean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it-IT" sz="800" b="1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cs-CZ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Paris</a:t>
            </a:r>
            <a:r>
              <a:rPr lang="it-IT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, </a:t>
            </a:r>
            <a:r>
              <a:rPr lang="cs-CZ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15th September 2017</a:t>
            </a:r>
            <a:endParaRPr lang="it-IT" sz="2000" i="1" kern="0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3172484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44364" y="2060848"/>
            <a:ext cx="9200197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en-US" sz="22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en-US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995 – Introduction of the Pension Act (Law No. 155/1995 </a:t>
            </a:r>
            <a:r>
              <a:rPr lang="en-US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ll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</a:t>
            </a:r>
            <a:r>
              <a:rPr lang="en-US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</a:t>
            </a: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en-US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04 – Minor parametric changes</a:t>
            </a: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en-US" sz="2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08 – First major parametric reform</a:t>
            </a: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en-US" sz="2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11 – „Small pension reform“</a:t>
            </a: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en-US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17 – Further parametric changes –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artial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versal of the 2011 reform</a:t>
            </a:r>
            <a:endParaRPr lang="en-US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Pension reform timeline</a:t>
            </a:r>
            <a:endParaRPr lang="en-US" dirty="0"/>
          </a:p>
        </p:txBody>
      </p:sp>
      <p:grpSp>
        <p:nvGrpSpPr>
          <p:cNvPr id="4" name="Skupina 3"/>
          <p:cNvGrpSpPr/>
          <p:nvPr/>
        </p:nvGrpSpPr>
        <p:grpSpPr>
          <a:xfrm>
            <a:off x="359481" y="1268760"/>
            <a:ext cx="9286875" cy="752475"/>
            <a:chOff x="0" y="0"/>
            <a:chExt cx="9286875" cy="752475"/>
          </a:xfrm>
        </p:grpSpPr>
        <p:grpSp>
          <p:nvGrpSpPr>
            <p:cNvPr id="7" name="Skupina 6"/>
            <p:cNvGrpSpPr/>
            <p:nvPr/>
          </p:nvGrpSpPr>
          <p:grpSpPr>
            <a:xfrm>
              <a:off x="0" y="0"/>
              <a:ext cx="2085975" cy="752475"/>
              <a:chOff x="0" y="0"/>
              <a:chExt cx="2085975" cy="752475"/>
            </a:xfrm>
          </p:grpSpPr>
          <p:sp>
            <p:nvSpPr>
              <p:cNvPr id="20" name="Dvojitá šipka 19"/>
              <p:cNvSpPr/>
              <p:nvPr/>
            </p:nvSpPr>
            <p:spPr>
              <a:xfrm>
                <a:off x="0" y="0"/>
                <a:ext cx="2085975" cy="752475"/>
              </a:xfrm>
              <a:prstGeom prst="chevron">
                <a:avLst/>
              </a:prstGeom>
              <a:solidFill>
                <a:schemeClr val="accent1">
                  <a:alpha val="6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cs-CZ"/>
              </a:p>
            </p:txBody>
          </p:sp>
          <p:sp>
            <p:nvSpPr>
              <p:cNvPr id="21" name="Textové pole 2"/>
              <p:cNvSpPr txBox="1">
                <a:spLocks noChangeArrowheads="1"/>
              </p:cNvSpPr>
              <p:nvPr/>
            </p:nvSpPr>
            <p:spPr bwMode="auto">
              <a:xfrm>
                <a:off x="676275" y="180975"/>
                <a:ext cx="571500" cy="52387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spAutoFit/>
              </a:bodyPr>
              <a:lstStyle/>
              <a:p>
                <a:pPr>
                  <a:lnSpc>
                    <a:spcPct val="115000"/>
                  </a:lnSpc>
                  <a:spcAft>
                    <a:spcPts val="1000"/>
                  </a:spcAft>
                </a:pPr>
                <a:r>
                  <a:rPr lang="cs-CZ" sz="1400">
                    <a:ln w="9208" cap="flat" cmpd="sng" algn="ctr">
                      <a:solidFill>
                        <a:srgbClr val="FFFFFF"/>
                      </a:solidFill>
                      <a:prstDash val="solid"/>
                      <a:round/>
                    </a:ln>
                    <a:solidFill>
                      <a:srgbClr val="FFFFFF"/>
                    </a:solidFill>
                    <a:effectLst>
                      <a:outerShdw blurRad="63500" dir="3600000" algn="tl">
                        <a:srgbClr val="000000">
                          <a:alpha val="70000"/>
                        </a:srgbClr>
                      </a:outerShdw>
                    </a:effectLst>
                    <a:latin typeface="Calibri"/>
                    <a:ea typeface="Calibri"/>
                    <a:cs typeface="Times New Roman"/>
                  </a:rPr>
                  <a:t>1995</a:t>
                </a:r>
                <a:endParaRPr lang="cs-CZ" sz="1100">
                  <a:effectLst/>
                  <a:latin typeface="Calibri"/>
                  <a:ea typeface="Calibri"/>
                  <a:cs typeface="Times New Roman"/>
                </a:endParaRPr>
              </a:p>
            </p:txBody>
          </p:sp>
        </p:grpSp>
        <p:grpSp>
          <p:nvGrpSpPr>
            <p:cNvPr id="8" name="Skupina 7"/>
            <p:cNvGrpSpPr/>
            <p:nvPr/>
          </p:nvGrpSpPr>
          <p:grpSpPr>
            <a:xfrm>
              <a:off x="1771650" y="0"/>
              <a:ext cx="2085975" cy="752475"/>
              <a:chOff x="0" y="0"/>
              <a:chExt cx="2085975" cy="752475"/>
            </a:xfrm>
          </p:grpSpPr>
          <p:sp>
            <p:nvSpPr>
              <p:cNvPr id="18" name="Dvojitá šipka 17"/>
              <p:cNvSpPr/>
              <p:nvPr/>
            </p:nvSpPr>
            <p:spPr>
              <a:xfrm>
                <a:off x="0" y="0"/>
                <a:ext cx="2085975" cy="752475"/>
              </a:xfrm>
              <a:prstGeom prst="chevron">
                <a:avLst/>
              </a:prstGeom>
              <a:solidFill>
                <a:schemeClr val="accent1">
                  <a:alpha val="6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cs-CZ"/>
              </a:p>
            </p:txBody>
          </p:sp>
          <p:sp>
            <p:nvSpPr>
              <p:cNvPr id="19" name="Textové pole 2"/>
              <p:cNvSpPr txBox="1">
                <a:spLocks noChangeArrowheads="1"/>
              </p:cNvSpPr>
              <p:nvPr/>
            </p:nvSpPr>
            <p:spPr bwMode="auto">
              <a:xfrm>
                <a:off x="676275" y="180873"/>
                <a:ext cx="572134" cy="52387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spAutoFit/>
              </a:bodyPr>
              <a:lstStyle/>
              <a:p>
                <a:pPr>
                  <a:lnSpc>
                    <a:spcPct val="115000"/>
                  </a:lnSpc>
                  <a:spcAft>
                    <a:spcPts val="1000"/>
                  </a:spcAft>
                </a:pPr>
                <a:r>
                  <a:rPr lang="cs-CZ" sz="1400">
                    <a:ln w="9208" cap="flat" cmpd="sng" algn="ctr">
                      <a:solidFill>
                        <a:srgbClr val="FFFFFF"/>
                      </a:solidFill>
                      <a:prstDash val="solid"/>
                      <a:round/>
                    </a:ln>
                    <a:solidFill>
                      <a:srgbClr val="FFFFFF"/>
                    </a:solidFill>
                    <a:effectLst>
                      <a:outerShdw blurRad="63500" dir="3600000" algn="tl">
                        <a:srgbClr val="000000">
                          <a:alpha val="70000"/>
                        </a:srgbClr>
                      </a:outerShdw>
                    </a:effectLst>
                    <a:latin typeface="Calibri"/>
                    <a:ea typeface="Calibri"/>
                    <a:cs typeface="Times New Roman"/>
                  </a:rPr>
                  <a:t>2004</a:t>
                </a:r>
                <a:endParaRPr lang="cs-CZ" sz="1100">
                  <a:effectLst/>
                  <a:latin typeface="Calibri"/>
                  <a:ea typeface="Calibri"/>
                  <a:cs typeface="Times New Roman"/>
                </a:endParaRPr>
              </a:p>
            </p:txBody>
          </p:sp>
        </p:grpSp>
        <p:grpSp>
          <p:nvGrpSpPr>
            <p:cNvPr id="9" name="Skupina 8"/>
            <p:cNvGrpSpPr/>
            <p:nvPr/>
          </p:nvGrpSpPr>
          <p:grpSpPr>
            <a:xfrm>
              <a:off x="3609975" y="0"/>
              <a:ext cx="2085975" cy="752475"/>
              <a:chOff x="0" y="0"/>
              <a:chExt cx="2085975" cy="752475"/>
            </a:xfrm>
          </p:grpSpPr>
          <p:sp>
            <p:nvSpPr>
              <p:cNvPr id="16" name="Dvojitá šipka 15"/>
              <p:cNvSpPr/>
              <p:nvPr/>
            </p:nvSpPr>
            <p:spPr>
              <a:xfrm>
                <a:off x="0" y="0"/>
                <a:ext cx="2085975" cy="752475"/>
              </a:xfrm>
              <a:prstGeom prst="chevron">
                <a:avLst/>
              </a:prstGeom>
              <a:solidFill>
                <a:srgbClr val="FF0000">
                  <a:alpha val="60000"/>
                </a:srgbClr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cs-CZ"/>
              </a:p>
            </p:txBody>
          </p:sp>
          <p:sp>
            <p:nvSpPr>
              <p:cNvPr id="17" name="Textové pole 2"/>
              <p:cNvSpPr txBox="1">
                <a:spLocks noChangeArrowheads="1"/>
              </p:cNvSpPr>
              <p:nvPr/>
            </p:nvSpPr>
            <p:spPr bwMode="auto">
              <a:xfrm>
                <a:off x="676275" y="180873"/>
                <a:ext cx="572134" cy="52387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spAutoFit/>
              </a:bodyPr>
              <a:lstStyle/>
              <a:p>
                <a:pPr>
                  <a:lnSpc>
                    <a:spcPct val="115000"/>
                  </a:lnSpc>
                  <a:spcAft>
                    <a:spcPts val="1000"/>
                  </a:spcAft>
                </a:pPr>
                <a:r>
                  <a:rPr lang="cs-CZ" sz="1400">
                    <a:ln w="9208" cap="flat" cmpd="sng" algn="ctr">
                      <a:solidFill>
                        <a:srgbClr val="FFFFFF"/>
                      </a:solidFill>
                      <a:prstDash val="solid"/>
                      <a:round/>
                    </a:ln>
                    <a:solidFill>
                      <a:srgbClr val="FFFFFF"/>
                    </a:solidFill>
                    <a:effectLst>
                      <a:outerShdw blurRad="63500" dir="3600000" algn="tl">
                        <a:srgbClr val="000000">
                          <a:alpha val="70000"/>
                        </a:srgbClr>
                      </a:outerShdw>
                    </a:effectLst>
                    <a:latin typeface="Calibri"/>
                    <a:ea typeface="Calibri"/>
                    <a:cs typeface="Times New Roman"/>
                  </a:rPr>
                  <a:t>2008</a:t>
                </a:r>
                <a:endParaRPr lang="cs-CZ" sz="1100">
                  <a:effectLst/>
                  <a:latin typeface="Calibri"/>
                  <a:ea typeface="Calibri"/>
                  <a:cs typeface="Times New Roman"/>
                </a:endParaRPr>
              </a:p>
            </p:txBody>
          </p:sp>
        </p:grpSp>
        <p:grpSp>
          <p:nvGrpSpPr>
            <p:cNvPr id="10" name="Skupina 9"/>
            <p:cNvGrpSpPr/>
            <p:nvPr/>
          </p:nvGrpSpPr>
          <p:grpSpPr>
            <a:xfrm>
              <a:off x="5372100" y="0"/>
              <a:ext cx="2085975" cy="752475"/>
              <a:chOff x="0" y="0"/>
              <a:chExt cx="2085975" cy="752475"/>
            </a:xfrm>
          </p:grpSpPr>
          <p:sp>
            <p:nvSpPr>
              <p:cNvPr id="14" name="Dvojitá šipka 13"/>
              <p:cNvSpPr/>
              <p:nvPr/>
            </p:nvSpPr>
            <p:spPr>
              <a:xfrm>
                <a:off x="0" y="0"/>
                <a:ext cx="2085975" cy="752475"/>
              </a:xfrm>
              <a:prstGeom prst="chevron">
                <a:avLst/>
              </a:prstGeom>
              <a:solidFill>
                <a:srgbClr val="FF0000">
                  <a:alpha val="60000"/>
                </a:srgbClr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cs-CZ"/>
              </a:p>
            </p:txBody>
          </p:sp>
          <p:sp>
            <p:nvSpPr>
              <p:cNvPr id="15" name="Textové pole 2"/>
              <p:cNvSpPr txBox="1">
                <a:spLocks noChangeArrowheads="1"/>
              </p:cNvSpPr>
              <p:nvPr/>
            </p:nvSpPr>
            <p:spPr bwMode="auto">
              <a:xfrm>
                <a:off x="676275" y="180788"/>
                <a:ext cx="572134" cy="52387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spAutoFit/>
              </a:bodyPr>
              <a:lstStyle/>
              <a:p>
                <a:pPr>
                  <a:lnSpc>
                    <a:spcPct val="115000"/>
                  </a:lnSpc>
                  <a:spcAft>
                    <a:spcPts val="1000"/>
                  </a:spcAft>
                </a:pPr>
                <a:r>
                  <a:rPr lang="cs-CZ" sz="1400">
                    <a:ln w="9208" cap="flat" cmpd="sng" algn="ctr">
                      <a:solidFill>
                        <a:srgbClr val="FFFFFF"/>
                      </a:solidFill>
                      <a:prstDash val="solid"/>
                      <a:round/>
                    </a:ln>
                    <a:solidFill>
                      <a:srgbClr val="FFFFFF"/>
                    </a:solidFill>
                    <a:effectLst>
                      <a:outerShdw blurRad="63500" dir="3600000" algn="tl">
                        <a:srgbClr val="000000">
                          <a:alpha val="70000"/>
                        </a:srgbClr>
                      </a:outerShdw>
                    </a:effectLst>
                    <a:latin typeface="Calibri"/>
                    <a:ea typeface="Calibri"/>
                    <a:cs typeface="Times New Roman"/>
                  </a:rPr>
                  <a:t>2011</a:t>
                </a:r>
                <a:endParaRPr lang="cs-CZ" sz="1100">
                  <a:effectLst/>
                  <a:latin typeface="Calibri"/>
                  <a:ea typeface="Calibri"/>
                  <a:cs typeface="Times New Roman"/>
                </a:endParaRPr>
              </a:p>
            </p:txBody>
          </p:sp>
        </p:grpSp>
        <p:grpSp>
          <p:nvGrpSpPr>
            <p:cNvPr id="11" name="Skupina 10"/>
            <p:cNvGrpSpPr/>
            <p:nvPr/>
          </p:nvGrpSpPr>
          <p:grpSpPr>
            <a:xfrm>
              <a:off x="7200900" y="0"/>
              <a:ext cx="2085975" cy="752475"/>
              <a:chOff x="0" y="0"/>
              <a:chExt cx="2085975" cy="752475"/>
            </a:xfrm>
          </p:grpSpPr>
          <p:sp>
            <p:nvSpPr>
              <p:cNvPr id="12" name="Dvojitá šipka 11"/>
              <p:cNvSpPr/>
              <p:nvPr/>
            </p:nvSpPr>
            <p:spPr>
              <a:xfrm>
                <a:off x="0" y="0"/>
                <a:ext cx="2085975" cy="752475"/>
              </a:xfrm>
              <a:prstGeom prst="chevron">
                <a:avLst/>
              </a:prstGeom>
              <a:solidFill>
                <a:srgbClr val="00B0F0">
                  <a:alpha val="60000"/>
                </a:srgbClr>
              </a:solidFill>
              <a:ln>
                <a:solidFill>
                  <a:srgbClr val="00B0F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cs-CZ"/>
              </a:p>
            </p:txBody>
          </p:sp>
          <p:sp>
            <p:nvSpPr>
              <p:cNvPr id="13" name="Textové pole 2"/>
              <p:cNvSpPr txBox="1">
                <a:spLocks noChangeArrowheads="1"/>
              </p:cNvSpPr>
              <p:nvPr/>
            </p:nvSpPr>
            <p:spPr bwMode="auto">
              <a:xfrm>
                <a:off x="676275" y="180788"/>
                <a:ext cx="572134" cy="52387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rot="0" vert="horz" wrap="square" lIns="91440" tIns="45720" rIns="91440" bIns="45720" anchor="t" anchorCtr="0">
                <a:spAutoFit/>
              </a:bodyPr>
              <a:lstStyle/>
              <a:p>
                <a:pPr>
                  <a:lnSpc>
                    <a:spcPct val="115000"/>
                  </a:lnSpc>
                  <a:spcAft>
                    <a:spcPts val="1000"/>
                  </a:spcAft>
                </a:pPr>
                <a:r>
                  <a:rPr lang="cs-CZ" sz="1400">
                    <a:ln w="9208" cap="flat" cmpd="sng" algn="ctr">
                      <a:solidFill>
                        <a:srgbClr val="FFFFFF"/>
                      </a:solidFill>
                      <a:prstDash val="solid"/>
                      <a:round/>
                    </a:ln>
                    <a:solidFill>
                      <a:srgbClr val="FFFFFF"/>
                    </a:solidFill>
                    <a:effectLst>
                      <a:outerShdw blurRad="63500" dir="3600000" algn="tl">
                        <a:srgbClr val="000000">
                          <a:alpha val="70000"/>
                        </a:srgbClr>
                      </a:outerShdw>
                    </a:effectLst>
                    <a:latin typeface="Calibri"/>
                    <a:ea typeface="Calibri"/>
                    <a:cs typeface="Times New Roman"/>
                  </a:rPr>
                  <a:t>2017</a:t>
                </a:r>
                <a:endParaRPr lang="cs-CZ" sz="1100">
                  <a:effectLst/>
                  <a:latin typeface="Calibri"/>
                  <a:ea typeface="Calibri"/>
                  <a:cs typeface="Times New Roman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58876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Retirement age – pre 2008</a:t>
            </a:r>
            <a:endParaRPr lang="en-US" dirty="0"/>
          </a:p>
        </p:txBody>
      </p:sp>
      <p:pic>
        <p:nvPicPr>
          <p:cNvPr id="1714180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6863" y="1011238"/>
            <a:ext cx="6770687" cy="456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57855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Retirement age – </a:t>
            </a:r>
            <a:r>
              <a:rPr lang="cs-CZ" dirty="0" err="1" smtClean="0"/>
              <a:t>after</a:t>
            </a:r>
            <a:r>
              <a:rPr lang="en-US" dirty="0" smtClean="0"/>
              <a:t> 2008</a:t>
            </a:r>
            <a:endParaRPr lang="en-US" dirty="0"/>
          </a:p>
        </p:txBody>
      </p:sp>
      <p:pic>
        <p:nvPicPr>
          <p:cNvPr id="171520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8450" y="1012825"/>
            <a:ext cx="6769100" cy="455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90800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Retirement age – </a:t>
            </a:r>
            <a:r>
              <a:rPr lang="cs-CZ" dirty="0" err="1" smtClean="0"/>
              <a:t>after</a:t>
            </a:r>
            <a:r>
              <a:rPr lang="en-US" dirty="0" smtClean="0"/>
              <a:t> 20</a:t>
            </a:r>
            <a:r>
              <a:rPr lang="cs-CZ" dirty="0" smtClean="0"/>
              <a:t>11</a:t>
            </a:r>
          </a:p>
        </p:txBody>
      </p:sp>
      <p:pic>
        <p:nvPicPr>
          <p:cNvPr id="17162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6863" y="1012825"/>
            <a:ext cx="6770687" cy="455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15853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Retirement age – </a:t>
            </a:r>
            <a:r>
              <a:rPr lang="cs-CZ" dirty="0" err="1" smtClean="0"/>
              <a:t>after</a:t>
            </a:r>
            <a:r>
              <a:rPr lang="en-US" dirty="0" smtClean="0"/>
              <a:t> 20</a:t>
            </a:r>
            <a:r>
              <a:rPr lang="cs-CZ" dirty="0" smtClean="0"/>
              <a:t>17</a:t>
            </a:r>
          </a:p>
        </p:txBody>
      </p:sp>
      <p:pic>
        <p:nvPicPr>
          <p:cNvPr id="17172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8450" y="1012825"/>
            <a:ext cx="6769100" cy="455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38673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Retirement age – </a:t>
            </a:r>
            <a:r>
              <a:rPr lang="cs-CZ" dirty="0" err="1" smtClean="0"/>
              <a:t>change</a:t>
            </a:r>
            <a:r>
              <a:rPr lang="cs-CZ" dirty="0" smtClean="0"/>
              <a:t> </a:t>
            </a:r>
            <a:r>
              <a:rPr lang="cs-CZ" dirty="0" err="1" smtClean="0"/>
              <a:t>between</a:t>
            </a:r>
            <a:r>
              <a:rPr lang="cs-CZ" dirty="0" smtClean="0"/>
              <a:t> 2008 and 2017</a:t>
            </a:r>
          </a:p>
        </p:txBody>
      </p:sp>
      <p:pic>
        <p:nvPicPr>
          <p:cNvPr id="171827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6863" y="1012825"/>
            <a:ext cx="6770687" cy="455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27792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00197" cy="57708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en-US" sz="22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AutoNum type="arabicPeriod"/>
            </a:pP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riginally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minimum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dexation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100 %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flation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nd 1/3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al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age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rowth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ith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overnment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iscretion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o more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enerous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dexation</a:t>
            </a:r>
            <a:endParaRPr lang="cs-CZ" sz="22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AutoNum type="arabicPeriod"/>
            </a:pP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 2011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overnment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iscretion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as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moved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nd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ules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tipuleted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irectly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Pension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ct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100 %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flation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+ 1/3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al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age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rowth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</a:t>
            </a:r>
          </a:p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AutoNum type="arabicPeriod"/>
            </a:pP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emporary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owered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dexation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2013 and 2014 (1/3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flation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+ 1/3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al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age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rowth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 as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usterity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easure</a:t>
            </a:r>
            <a:endParaRPr lang="cs-CZ" sz="22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AutoNum type="arabicPeriod"/>
            </a:pP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 2016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overnement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iscretion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newed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ith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n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upper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limit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2,7 %</a:t>
            </a:r>
          </a:p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AutoNum type="arabicPeriod"/>
            </a:pP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ince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2017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dexation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ormula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hanged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o 100 %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flation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+ 1/2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al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age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rowth</a:t>
            </a:r>
            <a:r>
              <a:rPr lang="en-US" sz="2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	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cs-CZ" dirty="0" smtClean="0"/>
              <a:t>Pension </a:t>
            </a:r>
            <a:r>
              <a:rPr lang="cs-CZ" dirty="0" err="1" smtClean="0"/>
              <a:t>indexation</a:t>
            </a:r>
            <a:r>
              <a:rPr lang="cs-CZ" dirty="0" smtClean="0"/>
              <a:t> </a:t>
            </a:r>
            <a:r>
              <a:rPr lang="cs-CZ" dirty="0" err="1" smtClean="0"/>
              <a:t>rules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604965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00197" cy="62786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AutoNum type="arabicPeriod"/>
            </a:pP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hanged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2008</a:t>
            </a:r>
          </a:p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AutoNum type="arabicPeriod"/>
            </a:pP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ormer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ystem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artial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nd full disability</a:t>
            </a:r>
          </a:p>
          <a:p>
            <a:pPr marL="971550" lvl="1" indent="-514350" algn="just">
              <a:lnSpc>
                <a:spcPct val="150000"/>
              </a:lnSpc>
              <a:buClr>
                <a:schemeClr val="tx2"/>
              </a:buClr>
              <a:buSzPct val="103000"/>
              <a:buFont typeface="+mj-lt"/>
              <a:buAutoNum type="romanUcPeriod"/>
            </a:pP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duction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sz="2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ork</a:t>
            </a:r>
            <a:r>
              <a:rPr lang="cs-CZ" sz="2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apacity</a:t>
            </a:r>
            <a:r>
              <a:rPr lang="cs-CZ" sz="2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by 33 % and 66 %</a:t>
            </a:r>
          </a:p>
          <a:p>
            <a:pPr marL="914400" lvl="1" indent="-457200" algn="just">
              <a:lnSpc>
                <a:spcPct val="150000"/>
              </a:lnSpc>
              <a:buClr>
                <a:schemeClr val="tx2"/>
              </a:buClr>
              <a:buSzPct val="103000"/>
              <a:buAutoNum type="romanUcPeriod"/>
            </a:pP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eparate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nsions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– a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hange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disability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evel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led to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ew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pplication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or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pension and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ew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ranting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cess</a:t>
            </a:r>
            <a:endParaRPr lang="cs-CZ" sz="22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AutoNum type="arabicPeriod"/>
            </a:pP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ew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ystem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ree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grees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disability</a:t>
            </a:r>
          </a:p>
          <a:p>
            <a:pPr marL="971550" lvl="1" indent="-514350" algn="just">
              <a:lnSpc>
                <a:spcPct val="150000"/>
              </a:lnSpc>
              <a:buClr>
                <a:schemeClr val="tx2"/>
              </a:buClr>
              <a:buSzPct val="103000"/>
              <a:buFont typeface="+mj-lt"/>
              <a:buAutoNum type="romanUcPeriod"/>
            </a:pPr>
            <a:r>
              <a:rPr lang="cs-CZ" sz="2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duction</a:t>
            </a:r>
            <a:r>
              <a:rPr lang="cs-CZ" sz="2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sz="2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ork</a:t>
            </a:r>
            <a:r>
              <a:rPr lang="cs-CZ" sz="2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apacity</a:t>
            </a:r>
            <a:r>
              <a:rPr lang="cs-CZ" sz="2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y 35 %, 50 % and 70 %</a:t>
            </a:r>
          </a:p>
          <a:p>
            <a:pPr marL="971550" lvl="1" indent="-514350" algn="just">
              <a:lnSpc>
                <a:spcPct val="150000"/>
              </a:lnSpc>
              <a:buClr>
                <a:schemeClr val="tx2"/>
              </a:buClr>
              <a:buSzPct val="103000"/>
              <a:buFont typeface="+mj-lt"/>
              <a:buAutoNum type="romanUcPeriod"/>
            </a:pP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nly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ne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disability pension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xists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–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grees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erely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termine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benefit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mount</a:t>
            </a:r>
            <a:endParaRPr lang="cs-CZ" sz="22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Font typeface="+mj-lt"/>
              <a:buAutoNum type="arabicPeriod"/>
            </a:pP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ew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ules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or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ork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apacity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duction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ssessment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ut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place</a:t>
            </a:r>
          </a:p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Font typeface="+mj-lt"/>
              <a:buAutoNum type="arabicPeriod"/>
            </a:pP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wo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argets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–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odernising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disability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nsions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nd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urtailing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pension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xpenditure</a:t>
            </a:r>
            <a:endParaRPr lang="it-IT" sz="22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cs-CZ" dirty="0" smtClean="0"/>
              <a:t>Disability </a:t>
            </a:r>
            <a:r>
              <a:rPr lang="cs-CZ" dirty="0" err="1" smtClean="0"/>
              <a:t>pensions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614020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00197" cy="67864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AutoNum type="arabicPeriod"/>
            </a:pP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ew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ules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or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early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nsions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ince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2008</a:t>
            </a:r>
          </a:p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AutoNum type="arabicPeriod"/>
            </a:pP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imed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t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creasing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flexibility in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dividual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tirement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rrangments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nd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viding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isincentive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or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early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tirement</a:t>
            </a:r>
            <a:endParaRPr lang="cs-CZ" sz="22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AutoNum type="arabicPeriod"/>
            </a:pPr>
            <a:endParaRPr lang="cs-CZ" sz="22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AutoNum type="arabicPeriod"/>
            </a:pPr>
            <a:endParaRPr lang="cs-CZ" sz="22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AutoNum type="arabicPeriod"/>
            </a:pPr>
            <a:endParaRPr lang="cs-CZ" sz="22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AutoNum type="arabicPeriod"/>
            </a:pP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riod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early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tirement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ing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creased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rom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3 to 5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years</a:t>
            </a:r>
            <a:endParaRPr lang="cs-CZ" sz="22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AutoNum type="arabicPeriod"/>
            </a:pP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ull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otential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period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5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years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early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tirement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ill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ached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radually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– minimum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ge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or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early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tirement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60</a:t>
            </a:r>
          </a:p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AutoNum type="arabicPeriod"/>
            </a:pP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ules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lightly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ightened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2011 (period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361 – 720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ays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early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tirement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</a:t>
            </a:r>
          </a:p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AutoNum type="arabicPeriod"/>
            </a:pPr>
            <a:endParaRPr lang="cs-CZ" sz="22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cs-CZ" dirty="0" smtClean="0"/>
              <a:t>Early </a:t>
            </a:r>
            <a:r>
              <a:rPr lang="cs-CZ" dirty="0" err="1" smtClean="0"/>
              <a:t>pensions</a:t>
            </a:r>
            <a:endParaRPr lang="it-IT" dirty="0"/>
          </a:p>
        </p:txBody>
      </p:sp>
      <p:grpSp>
        <p:nvGrpSpPr>
          <p:cNvPr id="90" name="Skupina 89"/>
          <p:cNvGrpSpPr/>
          <p:nvPr/>
        </p:nvGrpSpPr>
        <p:grpSpPr>
          <a:xfrm>
            <a:off x="275437" y="2793986"/>
            <a:ext cx="9360000" cy="1569720"/>
            <a:chOff x="0" y="0"/>
            <a:chExt cx="10118725" cy="1569720"/>
          </a:xfrm>
        </p:grpSpPr>
        <p:grpSp>
          <p:nvGrpSpPr>
            <p:cNvPr id="91" name="Skupina 90"/>
            <p:cNvGrpSpPr/>
            <p:nvPr/>
          </p:nvGrpSpPr>
          <p:grpSpPr>
            <a:xfrm>
              <a:off x="0" y="0"/>
              <a:ext cx="10118725" cy="1569720"/>
              <a:chOff x="0" y="-4338"/>
              <a:chExt cx="10118725" cy="1570248"/>
            </a:xfrm>
          </p:grpSpPr>
          <p:grpSp>
            <p:nvGrpSpPr>
              <p:cNvPr id="93" name="Skupina 92"/>
              <p:cNvGrpSpPr/>
              <p:nvPr/>
            </p:nvGrpSpPr>
            <p:grpSpPr>
              <a:xfrm>
                <a:off x="0" y="457200"/>
                <a:ext cx="10118725" cy="390525"/>
                <a:chOff x="0" y="0"/>
                <a:chExt cx="10118725" cy="390525"/>
              </a:xfrm>
            </p:grpSpPr>
            <p:grpSp>
              <p:nvGrpSpPr>
                <p:cNvPr id="113" name="Skupina 112"/>
                <p:cNvGrpSpPr/>
                <p:nvPr/>
              </p:nvGrpSpPr>
              <p:grpSpPr>
                <a:xfrm>
                  <a:off x="6267450" y="0"/>
                  <a:ext cx="485775" cy="390525"/>
                  <a:chOff x="0" y="0"/>
                  <a:chExt cx="485775" cy="390525"/>
                </a:xfrm>
              </p:grpSpPr>
              <p:sp>
                <p:nvSpPr>
                  <p:cNvPr id="174" name="Obdélník 173"/>
                  <p:cNvSpPr/>
                  <p:nvPr/>
                </p:nvSpPr>
                <p:spPr>
                  <a:xfrm>
                    <a:off x="0" y="0"/>
                    <a:ext cx="428625" cy="390525"/>
                  </a:xfrm>
                  <a:prstGeom prst="rect">
                    <a:avLst/>
                  </a:prstGeom>
                  <a:solidFill>
                    <a:srgbClr val="7030A0">
                      <a:alpha val="50000"/>
                    </a:srgbClr>
                  </a:solidFill>
                  <a:ln>
                    <a:solidFill>
                      <a:srgbClr val="7030A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cs-CZ"/>
                  </a:p>
                </p:txBody>
              </p:sp>
              <p:sp>
                <p:nvSpPr>
                  <p:cNvPr id="175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150" y="66675"/>
                    <a:ext cx="428625" cy="3238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solidFill>
                          <a:srgbClr val="FFFFFF"/>
                        </a:solidFill>
                        <a:effectLst/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endParaRPr lang="cs-CZ" sz="110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</p:grpSp>
            <p:grpSp>
              <p:nvGrpSpPr>
                <p:cNvPr id="114" name="Skupina 113"/>
                <p:cNvGrpSpPr/>
                <p:nvPr/>
              </p:nvGrpSpPr>
              <p:grpSpPr>
                <a:xfrm>
                  <a:off x="6756400" y="0"/>
                  <a:ext cx="485775" cy="390525"/>
                  <a:chOff x="0" y="0"/>
                  <a:chExt cx="485775" cy="390525"/>
                </a:xfrm>
              </p:grpSpPr>
              <p:sp>
                <p:nvSpPr>
                  <p:cNvPr id="172" name="Obdélník 171"/>
                  <p:cNvSpPr/>
                  <p:nvPr/>
                </p:nvSpPr>
                <p:spPr>
                  <a:xfrm>
                    <a:off x="0" y="0"/>
                    <a:ext cx="428625" cy="390525"/>
                  </a:xfrm>
                  <a:prstGeom prst="rect">
                    <a:avLst/>
                  </a:prstGeom>
                  <a:solidFill>
                    <a:srgbClr val="7030A0">
                      <a:alpha val="50000"/>
                    </a:srgb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cs-CZ"/>
                  </a:p>
                </p:txBody>
              </p:sp>
              <p:sp>
                <p:nvSpPr>
                  <p:cNvPr id="173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150" y="66675"/>
                    <a:ext cx="428625" cy="3238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solidFill>
                          <a:srgbClr val="FFFFFF"/>
                        </a:solidFill>
                        <a:effectLst/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endParaRPr lang="cs-CZ" sz="110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</p:grpSp>
            <p:grpSp>
              <p:nvGrpSpPr>
                <p:cNvPr id="115" name="Skupina 114"/>
                <p:cNvGrpSpPr/>
                <p:nvPr/>
              </p:nvGrpSpPr>
              <p:grpSpPr>
                <a:xfrm>
                  <a:off x="7734300" y="0"/>
                  <a:ext cx="485775" cy="390525"/>
                  <a:chOff x="0" y="0"/>
                  <a:chExt cx="485775" cy="390525"/>
                </a:xfrm>
              </p:grpSpPr>
              <p:sp>
                <p:nvSpPr>
                  <p:cNvPr id="170" name="Obdélník 169"/>
                  <p:cNvSpPr/>
                  <p:nvPr/>
                </p:nvSpPr>
                <p:spPr>
                  <a:xfrm>
                    <a:off x="0" y="0"/>
                    <a:ext cx="428625" cy="390525"/>
                  </a:xfrm>
                  <a:prstGeom prst="rect">
                    <a:avLst/>
                  </a:prstGeom>
                  <a:solidFill>
                    <a:srgbClr val="7030A0">
                      <a:alpha val="50000"/>
                    </a:srgbClr>
                  </a:solidFill>
                  <a:ln>
                    <a:solidFill>
                      <a:srgbClr val="7030A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cs-CZ"/>
                  </a:p>
                </p:txBody>
              </p:sp>
              <p:sp>
                <p:nvSpPr>
                  <p:cNvPr id="171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150" y="66675"/>
                    <a:ext cx="428625" cy="3238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solidFill>
                          <a:srgbClr val="FFFFFF"/>
                        </a:solidFill>
                        <a:effectLst/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endParaRPr lang="cs-CZ" sz="110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</p:grpSp>
            <p:grpSp>
              <p:nvGrpSpPr>
                <p:cNvPr id="116" name="Skupina 115"/>
                <p:cNvGrpSpPr/>
                <p:nvPr/>
              </p:nvGrpSpPr>
              <p:grpSpPr>
                <a:xfrm>
                  <a:off x="7245350" y="0"/>
                  <a:ext cx="485775" cy="390525"/>
                  <a:chOff x="0" y="0"/>
                  <a:chExt cx="485775" cy="390525"/>
                </a:xfrm>
              </p:grpSpPr>
              <p:sp>
                <p:nvSpPr>
                  <p:cNvPr id="168" name="Obdélník 167"/>
                  <p:cNvSpPr/>
                  <p:nvPr/>
                </p:nvSpPr>
                <p:spPr>
                  <a:xfrm>
                    <a:off x="0" y="0"/>
                    <a:ext cx="428625" cy="390525"/>
                  </a:xfrm>
                  <a:prstGeom prst="rect">
                    <a:avLst/>
                  </a:prstGeom>
                  <a:solidFill>
                    <a:srgbClr val="7030A0">
                      <a:alpha val="50000"/>
                    </a:srgbClr>
                  </a:solidFill>
                  <a:ln>
                    <a:solidFill>
                      <a:srgbClr val="7030A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cs-CZ"/>
                  </a:p>
                </p:txBody>
              </p:sp>
              <p:sp>
                <p:nvSpPr>
                  <p:cNvPr id="169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150" y="66675"/>
                    <a:ext cx="428625" cy="3238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solidFill>
                          <a:srgbClr val="FFFFFF"/>
                        </a:solidFill>
                        <a:effectLst/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endParaRPr lang="cs-CZ" sz="110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</p:grpSp>
            <p:grpSp>
              <p:nvGrpSpPr>
                <p:cNvPr id="117" name="Skupina 116"/>
                <p:cNvGrpSpPr/>
                <p:nvPr/>
              </p:nvGrpSpPr>
              <p:grpSpPr>
                <a:xfrm>
                  <a:off x="8223250" y="0"/>
                  <a:ext cx="485775" cy="390525"/>
                  <a:chOff x="0" y="0"/>
                  <a:chExt cx="485775" cy="390525"/>
                </a:xfrm>
              </p:grpSpPr>
              <p:sp>
                <p:nvSpPr>
                  <p:cNvPr id="166" name="Obdélník 165"/>
                  <p:cNvSpPr/>
                  <p:nvPr/>
                </p:nvSpPr>
                <p:spPr>
                  <a:xfrm>
                    <a:off x="0" y="0"/>
                    <a:ext cx="428625" cy="390525"/>
                  </a:xfrm>
                  <a:prstGeom prst="rect">
                    <a:avLst/>
                  </a:prstGeom>
                  <a:solidFill>
                    <a:schemeClr val="accent1">
                      <a:alpha val="5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cs-CZ"/>
                  </a:p>
                </p:txBody>
              </p:sp>
              <p:sp>
                <p:nvSpPr>
                  <p:cNvPr id="167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150" y="66675"/>
                    <a:ext cx="428625" cy="3238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solidFill>
                          <a:srgbClr val="FFFFFF"/>
                        </a:solidFill>
                        <a:effectLst/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endParaRPr lang="cs-CZ" sz="110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</p:grpSp>
            <p:grpSp>
              <p:nvGrpSpPr>
                <p:cNvPr id="118" name="Skupina 117"/>
                <p:cNvGrpSpPr/>
                <p:nvPr/>
              </p:nvGrpSpPr>
              <p:grpSpPr>
                <a:xfrm>
                  <a:off x="8699500" y="0"/>
                  <a:ext cx="485775" cy="390525"/>
                  <a:chOff x="0" y="0"/>
                  <a:chExt cx="485775" cy="390525"/>
                </a:xfrm>
              </p:grpSpPr>
              <p:sp>
                <p:nvSpPr>
                  <p:cNvPr id="164" name="Obdélník 163"/>
                  <p:cNvSpPr/>
                  <p:nvPr/>
                </p:nvSpPr>
                <p:spPr>
                  <a:xfrm>
                    <a:off x="0" y="0"/>
                    <a:ext cx="428625" cy="390525"/>
                  </a:xfrm>
                  <a:prstGeom prst="rect">
                    <a:avLst/>
                  </a:prstGeom>
                  <a:solidFill>
                    <a:schemeClr val="accent1">
                      <a:alpha val="5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cs-CZ"/>
                  </a:p>
                </p:txBody>
              </p:sp>
              <p:sp>
                <p:nvSpPr>
                  <p:cNvPr id="165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150" y="66675"/>
                    <a:ext cx="428625" cy="3238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solidFill>
                          <a:srgbClr val="FFFFFF"/>
                        </a:solidFill>
                        <a:effectLst/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endParaRPr lang="cs-CZ" sz="110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</p:grpSp>
            <p:grpSp>
              <p:nvGrpSpPr>
                <p:cNvPr id="119" name="Skupina 118"/>
                <p:cNvGrpSpPr/>
                <p:nvPr/>
              </p:nvGrpSpPr>
              <p:grpSpPr>
                <a:xfrm>
                  <a:off x="9163050" y="0"/>
                  <a:ext cx="485775" cy="390525"/>
                  <a:chOff x="0" y="0"/>
                  <a:chExt cx="485775" cy="390525"/>
                </a:xfrm>
              </p:grpSpPr>
              <p:sp>
                <p:nvSpPr>
                  <p:cNvPr id="162" name="Obdélník 161"/>
                  <p:cNvSpPr/>
                  <p:nvPr/>
                </p:nvSpPr>
                <p:spPr>
                  <a:xfrm>
                    <a:off x="0" y="0"/>
                    <a:ext cx="428625" cy="390525"/>
                  </a:xfrm>
                  <a:prstGeom prst="rect">
                    <a:avLst/>
                  </a:prstGeom>
                  <a:solidFill>
                    <a:schemeClr val="accent1">
                      <a:alpha val="5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cs-CZ"/>
                  </a:p>
                </p:txBody>
              </p:sp>
              <p:sp>
                <p:nvSpPr>
                  <p:cNvPr id="163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150" y="66675"/>
                    <a:ext cx="428625" cy="3238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solidFill>
                          <a:srgbClr val="FFFFFF"/>
                        </a:solidFill>
                        <a:effectLst/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endParaRPr lang="cs-CZ" sz="110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</p:grpSp>
            <p:grpSp>
              <p:nvGrpSpPr>
                <p:cNvPr id="120" name="Skupina 119"/>
                <p:cNvGrpSpPr/>
                <p:nvPr/>
              </p:nvGrpSpPr>
              <p:grpSpPr>
                <a:xfrm>
                  <a:off x="9632950" y="0"/>
                  <a:ext cx="485775" cy="390525"/>
                  <a:chOff x="0" y="0"/>
                  <a:chExt cx="485775" cy="390525"/>
                </a:xfrm>
              </p:grpSpPr>
              <p:sp>
                <p:nvSpPr>
                  <p:cNvPr id="160" name="Obdélník 159"/>
                  <p:cNvSpPr/>
                  <p:nvPr/>
                </p:nvSpPr>
                <p:spPr>
                  <a:xfrm>
                    <a:off x="0" y="0"/>
                    <a:ext cx="428625" cy="390525"/>
                  </a:xfrm>
                  <a:prstGeom prst="rect">
                    <a:avLst/>
                  </a:prstGeom>
                  <a:solidFill>
                    <a:schemeClr val="accent1">
                      <a:alpha val="5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cs-CZ"/>
                  </a:p>
                </p:txBody>
              </p:sp>
              <p:sp>
                <p:nvSpPr>
                  <p:cNvPr id="161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150" y="66675"/>
                    <a:ext cx="428625" cy="3238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solidFill>
                          <a:srgbClr val="FFFFFF"/>
                        </a:solidFill>
                        <a:effectLst/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endParaRPr lang="cs-CZ" sz="110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</p:grpSp>
            <p:grpSp>
              <p:nvGrpSpPr>
                <p:cNvPr id="121" name="Skupina 120"/>
                <p:cNvGrpSpPr/>
                <p:nvPr/>
              </p:nvGrpSpPr>
              <p:grpSpPr>
                <a:xfrm>
                  <a:off x="482600" y="0"/>
                  <a:ext cx="485775" cy="390525"/>
                  <a:chOff x="0" y="0"/>
                  <a:chExt cx="485775" cy="390525"/>
                </a:xfrm>
              </p:grpSpPr>
              <p:sp>
                <p:nvSpPr>
                  <p:cNvPr id="158" name="Obdélník 157"/>
                  <p:cNvSpPr/>
                  <p:nvPr/>
                </p:nvSpPr>
                <p:spPr>
                  <a:xfrm>
                    <a:off x="0" y="0"/>
                    <a:ext cx="428625" cy="390525"/>
                  </a:xfrm>
                  <a:prstGeom prst="rect">
                    <a:avLst/>
                  </a:prstGeom>
                  <a:solidFill>
                    <a:srgbClr val="FF0000">
                      <a:alpha val="50000"/>
                    </a:srgbClr>
                  </a:solidFill>
                  <a:ln>
                    <a:solidFill>
                      <a:srgbClr val="FF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cs-CZ"/>
                  </a:p>
                </p:txBody>
              </p:sp>
              <p:sp>
                <p:nvSpPr>
                  <p:cNvPr id="159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150" y="66675"/>
                    <a:ext cx="428625" cy="3238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solidFill>
                          <a:srgbClr val="FFFFFF"/>
                        </a:solidFill>
                        <a:effectLst/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endParaRPr lang="cs-CZ" sz="110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</p:grpSp>
            <p:grpSp>
              <p:nvGrpSpPr>
                <p:cNvPr id="122" name="Skupina 121"/>
                <p:cNvGrpSpPr/>
                <p:nvPr/>
              </p:nvGrpSpPr>
              <p:grpSpPr>
                <a:xfrm>
                  <a:off x="4324350" y="0"/>
                  <a:ext cx="485775" cy="390525"/>
                  <a:chOff x="0" y="0"/>
                  <a:chExt cx="485775" cy="390525"/>
                </a:xfrm>
              </p:grpSpPr>
              <p:sp>
                <p:nvSpPr>
                  <p:cNvPr id="156" name="Obdélník 155"/>
                  <p:cNvSpPr/>
                  <p:nvPr/>
                </p:nvSpPr>
                <p:spPr>
                  <a:xfrm>
                    <a:off x="0" y="0"/>
                    <a:ext cx="428625" cy="390525"/>
                  </a:xfrm>
                  <a:prstGeom prst="rect">
                    <a:avLst/>
                  </a:prstGeom>
                  <a:solidFill>
                    <a:srgbClr val="FF0000">
                      <a:alpha val="50000"/>
                    </a:srgbClr>
                  </a:solidFill>
                  <a:ln>
                    <a:solidFill>
                      <a:srgbClr val="FF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cs-CZ"/>
                  </a:p>
                </p:txBody>
              </p:sp>
              <p:sp>
                <p:nvSpPr>
                  <p:cNvPr id="157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150" y="66675"/>
                    <a:ext cx="428625" cy="3238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solidFill>
                          <a:srgbClr val="FFFFFF"/>
                        </a:solidFill>
                        <a:effectLst/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endParaRPr lang="cs-CZ" sz="110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</p:grpSp>
            <p:grpSp>
              <p:nvGrpSpPr>
                <p:cNvPr id="123" name="Skupina 122"/>
                <p:cNvGrpSpPr/>
                <p:nvPr/>
              </p:nvGrpSpPr>
              <p:grpSpPr>
                <a:xfrm>
                  <a:off x="4806950" y="0"/>
                  <a:ext cx="485775" cy="390525"/>
                  <a:chOff x="0" y="0"/>
                  <a:chExt cx="485775" cy="390525"/>
                </a:xfrm>
              </p:grpSpPr>
              <p:sp>
                <p:nvSpPr>
                  <p:cNvPr id="154" name="Obdélník 153"/>
                  <p:cNvSpPr/>
                  <p:nvPr/>
                </p:nvSpPr>
                <p:spPr>
                  <a:xfrm>
                    <a:off x="0" y="0"/>
                    <a:ext cx="428625" cy="390525"/>
                  </a:xfrm>
                  <a:prstGeom prst="rect">
                    <a:avLst/>
                  </a:prstGeom>
                  <a:solidFill>
                    <a:srgbClr val="FF0000">
                      <a:alpha val="50000"/>
                    </a:srgbClr>
                  </a:solidFill>
                  <a:ln>
                    <a:solidFill>
                      <a:srgbClr val="FF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cs-CZ"/>
                  </a:p>
                </p:txBody>
              </p:sp>
              <p:sp>
                <p:nvSpPr>
                  <p:cNvPr id="155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150" y="66675"/>
                    <a:ext cx="428625" cy="3238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solidFill>
                          <a:srgbClr val="FFFFFF"/>
                        </a:solidFill>
                        <a:effectLst/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endParaRPr lang="cs-CZ" sz="110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</p:grpSp>
            <p:grpSp>
              <p:nvGrpSpPr>
                <p:cNvPr id="124" name="Skupina 123"/>
                <p:cNvGrpSpPr/>
                <p:nvPr/>
              </p:nvGrpSpPr>
              <p:grpSpPr>
                <a:xfrm>
                  <a:off x="5295900" y="0"/>
                  <a:ext cx="485775" cy="390525"/>
                  <a:chOff x="0" y="0"/>
                  <a:chExt cx="485775" cy="390525"/>
                </a:xfrm>
              </p:grpSpPr>
              <p:sp>
                <p:nvSpPr>
                  <p:cNvPr id="152" name="Obdélník 151"/>
                  <p:cNvSpPr/>
                  <p:nvPr/>
                </p:nvSpPr>
                <p:spPr>
                  <a:xfrm>
                    <a:off x="0" y="0"/>
                    <a:ext cx="428625" cy="390525"/>
                  </a:xfrm>
                  <a:prstGeom prst="rect">
                    <a:avLst/>
                  </a:prstGeom>
                  <a:solidFill>
                    <a:srgbClr val="FF0000">
                      <a:alpha val="50000"/>
                    </a:srgbClr>
                  </a:solidFill>
                  <a:ln>
                    <a:solidFill>
                      <a:srgbClr val="FF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cs-CZ"/>
                  </a:p>
                </p:txBody>
              </p:sp>
              <p:sp>
                <p:nvSpPr>
                  <p:cNvPr id="153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150" y="66675"/>
                    <a:ext cx="428625" cy="3238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solidFill>
                          <a:srgbClr val="FFFFFF"/>
                        </a:solidFill>
                        <a:effectLst/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endParaRPr lang="cs-CZ" sz="110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</p:grpSp>
            <p:grpSp>
              <p:nvGrpSpPr>
                <p:cNvPr id="125" name="Skupina 124"/>
                <p:cNvGrpSpPr/>
                <p:nvPr/>
              </p:nvGrpSpPr>
              <p:grpSpPr>
                <a:xfrm>
                  <a:off x="5778500" y="0"/>
                  <a:ext cx="485775" cy="390525"/>
                  <a:chOff x="0" y="0"/>
                  <a:chExt cx="485775" cy="390525"/>
                </a:xfrm>
              </p:grpSpPr>
              <p:sp>
                <p:nvSpPr>
                  <p:cNvPr id="150" name="Obdélník 149"/>
                  <p:cNvSpPr/>
                  <p:nvPr/>
                </p:nvSpPr>
                <p:spPr>
                  <a:xfrm>
                    <a:off x="0" y="0"/>
                    <a:ext cx="428625" cy="390525"/>
                  </a:xfrm>
                  <a:prstGeom prst="rect">
                    <a:avLst/>
                  </a:prstGeom>
                  <a:solidFill>
                    <a:srgbClr val="FF0000">
                      <a:alpha val="50000"/>
                    </a:srgbClr>
                  </a:solidFill>
                  <a:ln>
                    <a:solidFill>
                      <a:srgbClr val="FF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cs-CZ"/>
                  </a:p>
                </p:txBody>
              </p:sp>
              <p:sp>
                <p:nvSpPr>
                  <p:cNvPr id="151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150" y="66675"/>
                    <a:ext cx="428625" cy="3238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solidFill>
                          <a:srgbClr val="FFFFFF"/>
                        </a:solidFill>
                        <a:effectLst/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endParaRPr lang="cs-CZ" sz="110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</p:grpSp>
            <p:grpSp>
              <p:nvGrpSpPr>
                <p:cNvPr id="126" name="Skupina 125"/>
                <p:cNvGrpSpPr/>
                <p:nvPr/>
              </p:nvGrpSpPr>
              <p:grpSpPr>
                <a:xfrm>
                  <a:off x="965200" y="0"/>
                  <a:ext cx="485775" cy="390525"/>
                  <a:chOff x="0" y="0"/>
                  <a:chExt cx="485775" cy="390525"/>
                </a:xfrm>
              </p:grpSpPr>
              <p:sp>
                <p:nvSpPr>
                  <p:cNvPr id="148" name="Obdélník 147"/>
                  <p:cNvSpPr/>
                  <p:nvPr/>
                </p:nvSpPr>
                <p:spPr>
                  <a:xfrm>
                    <a:off x="0" y="0"/>
                    <a:ext cx="428625" cy="390525"/>
                  </a:xfrm>
                  <a:prstGeom prst="rect">
                    <a:avLst/>
                  </a:prstGeom>
                  <a:solidFill>
                    <a:srgbClr val="FF0000">
                      <a:alpha val="50000"/>
                    </a:srgbClr>
                  </a:solidFill>
                  <a:ln>
                    <a:solidFill>
                      <a:srgbClr val="FF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cs-CZ"/>
                  </a:p>
                </p:txBody>
              </p:sp>
              <p:sp>
                <p:nvSpPr>
                  <p:cNvPr id="149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150" y="66675"/>
                    <a:ext cx="428625" cy="3238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solidFill>
                          <a:srgbClr val="FFFFFF"/>
                        </a:solidFill>
                        <a:effectLst/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endParaRPr lang="cs-CZ" sz="110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</p:grpSp>
            <p:grpSp>
              <p:nvGrpSpPr>
                <p:cNvPr id="127" name="Skupina 126"/>
                <p:cNvGrpSpPr/>
                <p:nvPr/>
              </p:nvGrpSpPr>
              <p:grpSpPr>
                <a:xfrm>
                  <a:off x="1447800" y="0"/>
                  <a:ext cx="485775" cy="390525"/>
                  <a:chOff x="0" y="0"/>
                  <a:chExt cx="485775" cy="390525"/>
                </a:xfrm>
              </p:grpSpPr>
              <p:sp>
                <p:nvSpPr>
                  <p:cNvPr id="146" name="Obdélník 145"/>
                  <p:cNvSpPr/>
                  <p:nvPr/>
                </p:nvSpPr>
                <p:spPr>
                  <a:xfrm>
                    <a:off x="0" y="0"/>
                    <a:ext cx="428625" cy="390525"/>
                  </a:xfrm>
                  <a:prstGeom prst="rect">
                    <a:avLst/>
                  </a:prstGeom>
                  <a:solidFill>
                    <a:srgbClr val="FF0000">
                      <a:alpha val="50000"/>
                    </a:srgbClr>
                  </a:solidFill>
                  <a:ln>
                    <a:solidFill>
                      <a:srgbClr val="FF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cs-CZ"/>
                  </a:p>
                </p:txBody>
              </p:sp>
              <p:sp>
                <p:nvSpPr>
                  <p:cNvPr id="147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150" y="66675"/>
                    <a:ext cx="428625" cy="3238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solidFill>
                          <a:srgbClr val="FFFFFF"/>
                        </a:solidFill>
                        <a:effectLst/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endParaRPr lang="cs-CZ" sz="110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</p:grpSp>
            <p:grpSp>
              <p:nvGrpSpPr>
                <p:cNvPr id="128" name="Skupina 127"/>
                <p:cNvGrpSpPr/>
                <p:nvPr/>
              </p:nvGrpSpPr>
              <p:grpSpPr>
                <a:xfrm>
                  <a:off x="1917700" y="0"/>
                  <a:ext cx="485775" cy="390525"/>
                  <a:chOff x="0" y="0"/>
                  <a:chExt cx="485775" cy="390525"/>
                </a:xfrm>
              </p:grpSpPr>
              <p:sp>
                <p:nvSpPr>
                  <p:cNvPr id="144" name="Obdélník 143"/>
                  <p:cNvSpPr/>
                  <p:nvPr/>
                </p:nvSpPr>
                <p:spPr>
                  <a:xfrm>
                    <a:off x="0" y="0"/>
                    <a:ext cx="428625" cy="390525"/>
                  </a:xfrm>
                  <a:prstGeom prst="rect">
                    <a:avLst/>
                  </a:prstGeom>
                  <a:solidFill>
                    <a:srgbClr val="FF0000">
                      <a:alpha val="50000"/>
                    </a:srgbClr>
                  </a:solidFill>
                  <a:ln>
                    <a:solidFill>
                      <a:srgbClr val="FF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cs-CZ"/>
                  </a:p>
                </p:txBody>
              </p:sp>
              <p:sp>
                <p:nvSpPr>
                  <p:cNvPr id="145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150" y="66675"/>
                    <a:ext cx="428625" cy="3238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solidFill>
                          <a:srgbClr val="FFFFFF"/>
                        </a:solidFill>
                        <a:effectLst/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endParaRPr lang="cs-CZ" sz="110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</p:grpSp>
            <p:grpSp>
              <p:nvGrpSpPr>
                <p:cNvPr id="129" name="Skupina 128"/>
                <p:cNvGrpSpPr/>
                <p:nvPr/>
              </p:nvGrpSpPr>
              <p:grpSpPr>
                <a:xfrm>
                  <a:off x="2393950" y="0"/>
                  <a:ext cx="485775" cy="390525"/>
                  <a:chOff x="0" y="0"/>
                  <a:chExt cx="485775" cy="390525"/>
                </a:xfrm>
              </p:grpSpPr>
              <p:sp>
                <p:nvSpPr>
                  <p:cNvPr id="142" name="Obdélník 141"/>
                  <p:cNvSpPr/>
                  <p:nvPr/>
                </p:nvSpPr>
                <p:spPr>
                  <a:xfrm>
                    <a:off x="0" y="0"/>
                    <a:ext cx="428625" cy="390525"/>
                  </a:xfrm>
                  <a:prstGeom prst="rect">
                    <a:avLst/>
                  </a:prstGeom>
                  <a:solidFill>
                    <a:srgbClr val="FF0000">
                      <a:alpha val="50000"/>
                    </a:srgbClr>
                  </a:solidFill>
                  <a:ln>
                    <a:solidFill>
                      <a:srgbClr val="FF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cs-CZ"/>
                  </a:p>
                </p:txBody>
              </p:sp>
              <p:sp>
                <p:nvSpPr>
                  <p:cNvPr id="143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150" y="66675"/>
                    <a:ext cx="428625" cy="3238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solidFill>
                          <a:srgbClr val="FFFFFF"/>
                        </a:solidFill>
                        <a:effectLst/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endParaRPr lang="cs-CZ" sz="110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</p:grpSp>
            <p:grpSp>
              <p:nvGrpSpPr>
                <p:cNvPr id="130" name="Skupina 129"/>
                <p:cNvGrpSpPr/>
                <p:nvPr/>
              </p:nvGrpSpPr>
              <p:grpSpPr>
                <a:xfrm>
                  <a:off x="2876550" y="0"/>
                  <a:ext cx="485775" cy="390525"/>
                  <a:chOff x="0" y="0"/>
                  <a:chExt cx="485775" cy="390525"/>
                </a:xfrm>
              </p:grpSpPr>
              <p:sp>
                <p:nvSpPr>
                  <p:cNvPr id="140" name="Obdélník 139"/>
                  <p:cNvSpPr/>
                  <p:nvPr/>
                </p:nvSpPr>
                <p:spPr>
                  <a:xfrm>
                    <a:off x="0" y="0"/>
                    <a:ext cx="428625" cy="390525"/>
                  </a:xfrm>
                  <a:prstGeom prst="rect">
                    <a:avLst/>
                  </a:prstGeom>
                  <a:solidFill>
                    <a:srgbClr val="FF0000">
                      <a:alpha val="50000"/>
                    </a:srgbClr>
                  </a:solidFill>
                  <a:ln>
                    <a:solidFill>
                      <a:srgbClr val="FF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cs-CZ"/>
                  </a:p>
                </p:txBody>
              </p:sp>
              <p:sp>
                <p:nvSpPr>
                  <p:cNvPr id="141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150" y="66675"/>
                    <a:ext cx="428625" cy="3238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 dirty="0">
                        <a:solidFill>
                          <a:srgbClr val="FFFFFF"/>
                        </a:solidFill>
                        <a:effectLst/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endParaRPr lang="cs-CZ" sz="1100" dirty="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</p:grpSp>
            <p:grpSp>
              <p:nvGrpSpPr>
                <p:cNvPr id="131" name="Skupina 130"/>
                <p:cNvGrpSpPr/>
                <p:nvPr/>
              </p:nvGrpSpPr>
              <p:grpSpPr>
                <a:xfrm>
                  <a:off x="3359150" y="0"/>
                  <a:ext cx="485775" cy="390525"/>
                  <a:chOff x="0" y="0"/>
                  <a:chExt cx="485775" cy="390525"/>
                </a:xfrm>
              </p:grpSpPr>
              <p:sp>
                <p:nvSpPr>
                  <p:cNvPr id="138" name="Obdélník 137"/>
                  <p:cNvSpPr/>
                  <p:nvPr/>
                </p:nvSpPr>
                <p:spPr>
                  <a:xfrm>
                    <a:off x="0" y="0"/>
                    <a:ext cx="428625" cy="390525"/>
                  </a:xfrm>
                  <a:prstGeom prst="rect">
                    <a:avLst/>
                  </a:prstGeom>
                  <a:solidFill>
                    <a:srgbClr val="FF0000">
                      <a:alpha val="50000"/>
                    </a:srgbClr>
                  </a:solidFill>
                  <a:ln>
                    <a:solidFill>
                      <a:srgbClr val="FF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cs-CZ"/>
                  </a:p>
                </p:txBody>
              </p:sp>
              <p:sp>
                <p:nvSpPr>
                  <p:cNvPr id="139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150" y="66675"/>
                    <a:ext cx="428625" cy="3238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solidFill>
                          <a:srgbClr val="FFFFFF"/>
                        </a:solidFill>
                        <a:effectLst/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endParaRPr lang="cs-CZ" sz="110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</p:grpSp>
            <p:grpSp>
              <p:nvGrpSpPr>
                <p:cNvPr id="132" name="Skupina 131"/>
                <p:cNvGrpSpPr/>
                <p:nvPr/>
              </p:nvGrpSpPr>
              <p:grpSpPr>
                <a:xfrm>
                  <a:off x="3841750" y="0"/>
                  <a:ext cx="485775" cy="390525"/>
                  <a:chOff x="0" y="0"/>
                  <a:chExt cx="485775" cy="390525"/>
                </a:xfrm>
              </p:grpSpPr>
              <p:sp>
                <p:nvSpPr>
                  <p:cNvPr id="136" name="Obdélník 135"/>
                  <p:cNvSpPr/>
                  <p:nvPr/>
                </p:nvSpPr>
                <p:spPr>
                  <a:xfrm>
                    <a:off x="0" y="0"/>
                    <a:ext cx="428625" cy="390525"/>
                  </a:xfrm>
                  <a:prstGeom prst="rect">
                    <a:avLst/>
                  </a:prstGeom>
                  <a:solidFill>
                    <a:srgbClr val="FF0000">
                      <a:alpha val="50000"/>
                    </a:srgbClr>
                  </a:solidFill>
                  <a:ln>
                    <a:solidFill>
                      <a:srgbClr val="FF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cs-CZ"/>
                  </a:p>
                </p:txBody>
              </p:sp>
              <p:sp>
                <p:nvSpPr>
                  <p:cNvPr id="137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150" y="66675"/>
                    <a:ext cx="428625" cy="3238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solidFill>
                          <a:srgbClr val="FFFFFF"/>
                        </a:solidFill>
                        <a:effectLst/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endParaRPr lang="cs-CZ" sz="110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</p:grpSp>
            <p:grpSp>
              <p:nvGrpSpPr>
                <p:cNvPr id="133" name="Skupina 132"/>
                <p:cNvGrpSpPr/>
                <p:nvPr/>
              </p:nvGrpSpPr>
              <p:grpSpPr>
                <a:xfrm>
                  <a:off x="0" y="0"/>
                  <a:ext cx="485775" cy="390525"/>
                  <a:chOff x="0" y="0"/>
                  <a:chExt cx="485775" cy="390525"/>
                </a:xfrm>
              </p:grpSpPr>
              <p:sp>
                <p:nvSpPr>
                  <p:cNvPr id="134" name="Obdélník 133"/>
                  <p:cNvSpPr/>
                  <p:nvPr/>
                </p:nvSpPr>
                <p:spPr>
                  <a:xfrm>
                    <a:off x="0" y="0"/>
                    <a:ext cx="428625" cy="390525"/>
                  </a:xfrm>
                  <a:prstGeom prst="rect">
                    <a:avLst/>
                  </a:prstGeom>
                  <a:solidFill>
                    <a:srgbClr val="FF0000">
                      <a:alpha val="50000"/>
                    </a:srgbClr>
                  </a:solidFill>
                  <a:ln>
                    <a:solidFill>
                      <a:srgbClr val="FF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cs-CZ"/>
                  </a:p>
                </p:txBody>
              </p:sp>
              <p:sp>
                <p:nvSpPr>
                  <p:cNvPr id="135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150" y="66675"/>
                    <a:ext cx="428625" cy="32385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solidFill>
                          <a:srgbClr val="FFFFFF"/>
                        </a:solidFill>
                        <a:effectLst/>
                        <a:latin typeface="Calibri"/>
                        <a:ea typeface="Calibri"/>
                        <a:cs typeface="Times New Roman"/>
                      </a:rPr>
                      <a:t>90</a:t>
                    </a:r>
                    <a:endParaRPr lang="cs-CZ" sz="1100">
                      <a:effectLst/>
                      <a:latin typeface="Calibri"/>
                      <a:ea typeface="Calibri"/>
                      <a:cs typeface="Times New Roman"/>
                    </a:endParaRPr>
                  </a:p>
                </p:txBody>
              </p:sp>
            </p:grpSp>
          </p:grpSp>
          <p:grpSp>
            <p:nvGrpSpPr>
              <p:cNvPr id="94" name="Skupina 93"/>
              <p:cNvGrpSpPr/>
              <p:nvPr/>
            </p:nvGrpSpPr>
            <p:grpSpPr>
              <a:xfrm>
                <a:off x="0" y="-4338"/>
                <a:ext cx="10061575" cy="302791"/>
                <a:chOff x="0" y="-4338"/>
                <a:chExt cx="10061575" cy="302791"/>
              </a:xfrm>
            </p:grpSpPr>
            <p:grpSp>
              <p:nvGrpSpPr>
                <p:cNvPr id="104" name="Skupina 103"/>
                <p:cNvGrpSpPr/>
                <p:nvPr/>
              </p:nvGrpSpPr>
              <p:grpSpPr>
                <a:xfrm>
                  <a:off x="0" y="-4338"/>
                  <a:ext cx="10061575" cy="302789"/>
                  <a:chOff x="0" y="-4338"/>
                  <a:chExt cx="10061575" cy="302789"/>
                </a:xfrm>
              </p:grpSpPr>
              <p:cxnSp>
                <p:nvCxnSpPr>
                  <p:cNvPr id="110" name="Přímá spojnice se šipkou 109"/>
                  <p:cNvCxnSpPr/>
                  <p:nvPr/>
                </p:nvCxnSpPr>
                <p:spPr>
                  <a:xfrm flipH="1">
                    <a:off x="0" y="298450"/>
                    <a:ext cx="10061575" cy="0"/>
                  </a:xfrm>
                  <a:prstGeom prst="straightConnector1">
                    <a:avLst/>
                  </a:prstGeom>
                  <a:ln>
                    <a:tailEnd type="arrow"/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1" name="Přímá spojnice se šipkou 110"/>
                  <p:cNvCxnSpPr/>
                  <p:nvPr/>
                </p:nvCxnSpPr>
                <p:spPr>
                  <a:xfrm>
                    <a:off x="6242050" y="-4338"/>
                    <a:ext cx="0" cy="298450"/>
                  </a:xfrm>
                  <a:prstGeom prst="straightConnector1">
                    <a:avLst/>
                  </a:prstGeom>
                  <a:ln>
                    <a:tailEnd type="arrow"/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2" name="Přímá spojnice se šipkou 111"/>
                  <p:cNvCxnSpPr/>
                  <p:nvPr/>
                </p:nvCxnSpPr>
                <p:spPr>
                  <a:xfrm>
                    <a:off x="8175625" y="1"/>
                    <a:ext cx="0" cy="298450"/>
                  </a:xfrm>
                  <a:prstGeom prst="straightConnector1">
                    <a:avLst/>
                  </a:prstGeom>
                  <a:ln>
                    <a:tailEnd type="arrow"/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05" name="Skupina 104"/>
                <p:cNvGrpSpPr/>
                <p:nvPr/>
              </p:nvGrpSpPr>
              <p:grpSpPr>
                <a:xfrm>
                  <a:off x="0" y="31751"/>
                  <a:ext cx="10013950" cy="266702"/>
                  <a:chOff x="0" y="-130174"/>
                  <a:chExt cx="10013950" cy="390528"/>
                </a:xfrm>
              </p:grpSpPr>
              <p:sp>
                <p:nvSpPr>
                  <p:cNvPr id="106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6423025" y="-130169"/>
                    <a:ext cx="3556000" cy="390523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 dirty="0">
                        <a:effectLst/>
                        <a:latin typeface="Calibri"/>
                        <a:ea typeface="Calibri"/>
                        <a:cs typeface="Times New Roman"/>
                      </a:rPr>
                      <a:t>360 </a:t>
                    </a:r>
                    <a:r>
                      <a:rPr lang="cs-CZ" sz="1100" dirty="0" err="1">
                        <a:effectLst/>
                        <a:latin typeface="Calibri"/>
                        <a:ea typeface="Calibri"/>
                        <a:cs typeface="Times New Roman"/>
                      </a:rPr>
                      <a:t>days</a:t>
                    </a:r>
                    <a:r>
                      <a:rPr lang="cs-CZ" sz="1100" dirty="0">
                        <a:effectLst/>
                        <a:latin typeface="Calibri"/>
                        <a:ea typeface="Calibri"/>
                        <a:cs typeface="Times New Roman"/>
                      </a:rPr>
                      <a:t> prior to Ret Age</a:t>
                    </a:r>
                  </a:p>
                </p:txBody>
              </p:sp>
              <p:sp>
                <p:nvSpPr>
                  <p:cNvPr id="107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4381501" y="-130171"/>
                    <a:ext cx="1943100" cy="390525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 dirty="0">
                        <a:effectLst/>
                        <a:latin typeface="Calibri"/>
                        <a:ea typeface="Calibri"/>
                        <a:cs typeface="Times New Roman"/>
                      </a:rPr>
                      <a:t>720 </a:t>
                    </a:r>
                    <a:r>
                      <a:rPr lang="cs-CZ" sz="1100" dirty="0" err="1">
                        <a:effectLst/>
                        <a:latin typeface="Calibri"/>
                        <a:ea typeface="Calibri"/>
                        <a:cs typeface="Times New Roman"/>
                      </a:rPr>
                      <a:t>days</a:t>
                    </a:r>
                    <a:r>
                      <a:rPr lang="cs-CZ" sz="1100" dirty="0">
                        <a:effectLst/>
                        <a:latin typeface="Calibri"/>
                        <a:ea typeface="Calibri"/>
                        <a:cs typeface="Times New Roman"/>
                      </a:rPr>
                      <a:t> prior to Ret Age</a:t>
                    </a:r>
                  </a:p>
                </p:txBody>
              </p:sp>
              <p:sp>
                <p:nvSpPr>
                  <p:cNvPr id="108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0" y="-130174"/>
                    <a:ext cx="3556000" cy="390522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 dirty="0">
                        <a:effectLst/>
                        <a:latin typeface="Calibri"/>
                        <a:ea typeface="Calibri"/>
                        <a:cs typeface="Times New Roman"/>
                      </a:rPr>
                      <a:t>more </a:t>
                    </a:r>
                    <a:r>
                      <a:rPr lang="cs-CZ" sz="1100" dirty="0" err="1">
                        <a:effectLst/>
                        <a:latin typeface="Calibri"/>
                        <a:ea typeface="Calibri"/>
                        <a:cs typeface="Times New Roman"/>
                      </a:rPr>
                      <a:t>than</a:t>
                    </a:r>
                    <a:r>
                      <a:rPr lang="cs-CZ" sz="1100" dirty="0">
                        <a:effectLst/>
                        <a:latin typeface="Calibri"/>
                        <a:ea typeface="Calibri"/>
                        <a:cs typeface="Times New Roman"/>
                      </a:rPr>
                      <a:t> </a:t>
                    </a:r>
                    <a:r>
                      <a:rPr lang="cs-CZ" sz="1100" dirty="0" smtClean="0">
                        <a:latin typeface="Calibri"/>
                        <a:ea typeface="Calibri"/>
                        <a:cs typeface="Times New Roman"/>
                      </a:rPr>
                      <a:t>720</a:t>
                    </a:r>
                    <a:r>
                      <a:rPr lang="cs-CZ" sz="1100" dirty="0" smtClean="0">
                        <a:effectLst/>
                        <a:latin typeface="Calibri"/>
                        <a:ea typeface="Calibri"/>
                        <a:cs typeface="Times New Roman"/>
                      </a:rPr>
                      <a:t> </a:t>
                    </a:r>
                    <a:r>
                      <a:rPr lang="cs-CZ" sz="1100" dirty="0" err="1">
                        <a:effectLst/>
                        <a:latin typeface="Calibri"/>
                        <a:ea typeface="Calibri"/>
                        <a:cs typeface="Times New Roman"/>
                      </a:rPr>
                      <a:t>days</a:t>
                    </a:r>
                    <a:r>
                      <a:rPr lang="cs-CZ" sz="1100" dirty="0">
                        <a:effectLst/>
                        <a:latin typeface="Calibri"/>
                        <a:ea typeface="Calibri"/>
                        <a:cs typeface="Times New Roman"/>
                      </a:rPr>
                      <a:t> prior to Ret Age</a:t>
                    </a:r>
                  </a:p>
                </p:txBody>
              </p:sp>
              <p:sp>
                <p:nvSpPr>
                  <p:cNvPr id="109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8350250" y="-130174"/>
                    <a:ext cx="1663700" cy="384171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 algn="r"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effectLst/>
                        <a:latin typeface="Calibri"/>
                        <a:ea typeface="Calibri"/>
                        <a:cs typeface="Times New Roman"/>
                      </a:rPr>
                      <a:t>Ret Age</a:t>
                    </a:r>
                  </a:p>
                </p:txBody>
              </p:sp>
            </p:grpSp>
          </p:grpSp>
          <p:grpSp>
            <p:nvGrpSpPr>
              <p:cNvPr id="95" name="Skupina 94"/>
              <p:cNvGrpSpPr/>
              <p:nvPr/>
            </p:nvGrpSpPr>
            <p:grpSpPr>
              <a:xfrm>
                <a:off x="0" y="977240"/>
                <a:ext cx="10099676" cy="588670"/>
                <a:chOff x="0" y="-660"/>
                <a:chExt cx="10099676" cy="588670"/>
              </a:xfrm>
            </p:grpSpPr>
            <p:grpSp>
              <p:nvGrpSpPr>
                <p:cNvPr id="96" name="Skupina 95"/>
                <p:cNvGrpSpPr/>
                <p:nvPr/>
              </p:nvGrpSpPr>
              <p:grpSpPr>
                <a:xfrm>
                  <a:off x="0" y="-331"/>
                  <a:ext cx="10099676" cy="331"/>
                  <a:chOff x="0" y="-331"/>
                  <a:chExt cx="10099676" cy="331"/>
                </a:xfrm>
              </p:grpSpPr>
              <p:cxnSp>
                <p:nvCxnSpPr>
                  <p:cNvPr id="101" name="Přímá spojnice se šipkou 100"/>
                  <p:cNvCxnSpPr/>
                  <p:nvPr/>
                </p:nvCxnSpPr>
                <p:spPr>
                  <a:xfrm flipH="1">
                    <a:off x="8175625" y="-331"/>
                    <a:ext cx="1924051" cy="0"/>
                  </a:xfrm>
                  <a:prstGeom prst="straightConnector1">
                    <a:avLst/>
                  </a:prstGeom>
                  <a:ln>
                    <a:tailEnd type="arrow"/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2" name="Přímá spojnice se šipkou 101"/>
                  <p:cNvCxnSpPr/>
                  <p:nvPr/>
                </p:nvCxnSpPr>
                <p:spPr>
                  <a:xfrm flipH="1">
                    <a:off x="6242050" y="0"/>
                    <a:ext cx="1958976" cy="0"/>
                  </a:xfrm>
                  <a:prstGeom prst="straightConnector1">
                    <a:avLst/>
                  </a:prstGeom>
                  <a:ln>
                    <a:tailEnd type="arrow"/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3" name="Přímá spojnice se šipkou 102"/>
                  <p:cNvCxnSpPr/>
                  <p:nvPr/>
                </p:nvCxnSpPr>
                <p:spPr>
                  <a:xfrm flipH="1">
                    <a:off x="0" y="-331"/>
                    <a:ext cx="6242050" cy="0"/>
                  </a:xfrm>
                  <a:prstGeom prst="straightConnector1">
                    <a:avLst/>
                  </a:prstGeom>
                  <a:ln>
                    <a:tailEnd type="arrow"/>
                  </a:ln>
                </p:spPr>
                <p:style>
                  <a:lnRef idx="1">
                    <a:schemeClr val="dk1"/>
                  </a:lnRef>
                  <a:fillRef idx="0">
                    <a:schemeClr val="dk1"/>
                  </a:fillRef>
                  <a:effectRef idx="0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97" name="Skupina 96"/>
                <p:cNvGrpSpPr/>
                <p:nvPr/>
              </p:nvGrpSpPr>
              <p:grpSpPr>
                <a:xfrm>
                  <a:off x="2708275" y="-660"/>
                  <a:ext cx="7388225" cy="588670"/>
                  <a:chOff x="1952625" y="-660"/>
                  <a:chExt cx="7388225" cy="588670"/>
                </a:xfrm>
              </p:grpSpPr>
              <p:sp>
                <p:nvSpPr>
                  <p:cNvPr id="98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7467600" y="-660"/>
                    <a:ext cx="1873250" cy="478922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 algn="r"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effectLst/>
                        <a:latin typeface="Calibri"/>
                        <a:ea typeface="Calibri"/>
                        <a:cs typeface="Times New Roman"/>
                      </a:rPr>
                      <a:t>0,9 % reduction per 90-day period</a:t>
                    </a:r>
                  </a:p>
                </p:txBody>
              </p:sp>
              <p:sp>
                <p:nvSpPr>
                  <p:cNvPr id="99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543550" y="3810"/>
                    <a:ext cx="1949450" cy="58420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 algn="r"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effectLst/>
                        <a:latin typeface="Calibri"/>
                        <a:ea typeface="Calibri"/>
                        <a:cs typeface="Times New Roman"/>
                      </a:rPr>
                      <a:t>1,2 % reduction per 90-day period (since 2011)</a:t>
                    </a:r>
                  </a:p>
                </p:txBody>
              </p:sp>
              <p:sp>
                <p:nvSpPr>
                  <p:cNvPr id="100" name="Textové pole 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1952625" y="3808"/>
                    <a:ext cx="3556000" cy="25400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rot="0" vert="horz" wrap="square" lIns="91440" tIns="45720" rIns="91440" bIns="45720" anchor="t" anchorCtr="0">
                    <a:noAutofit/>
                  </a:bodyPr>
                  <a:lstStyle/>
                  <a:p>
                    <a:pPr algn="r">
                      <a:lnSpc>
                        <a:spcPct val="115000"/>
                      </a:lnSpc>
                      <a:spcAft>
                        <a:spcPts val="1000"/>
                      </a:spcAft>
                    </a:pPr>
                    <a:r>
                      <a:rPr lang="cs-CZ" sz="1100">
                        <a:effectLst/>
                        <a:latin typeface="Calibri"/>
                        <a:ea typeface="Calibri"/>
                        <a:cs typeface="Times New Roman"/>
                      </a:rPr>
                      <a:t>1,5 % reduction per 90-day period</a:t>
                    </a:r>
                  </a:p>
                </p:txBody>
              </p:sp>
            </p:grpSp>
          </p:grpSp>
        </p:grpSp>
        <p:cxnSp>
          <p:nvCxnSpPr>
            <p:cNvPr id="92" name="Přímá spojnice se šipkou 91"/>
            <p:cNvCxnSpPr/>
            <p:nvPr/>
          </p:nvCxnSpPr>
          <p:spPr>
            <a:xfrm>
              <a:off x="10058400" y="0"/>
              <a:ext cx="0" cy="297815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58538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00197" cy="62786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AutoNum type="arabicPeriod"/>
            </a:pP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Qualifying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period (2008)</a:t>
            </a:r>
          </a:p>
          <a:p>
            <a:pPr marL="971550" lvl="1" indent="-514350" algn="just">
              <a:lnSpc>
                <a:spcPct val="150000"/>
              </a:lnSpc>
              <a:buClr>
                <a:schemeClr val="tx2"/>
              </a:buClr>
              <a:buSzPct val="103000"/>
              <a:buFont typeface="+mj-lt"/>
              <a:buAutoNum type="romanUcPeriod"/>
            </a:pP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inimum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quired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sured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period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ing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xtended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rom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25 to 35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years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surance</a:t>
            </a:r>
            <a:endParaRPr lang="cs-CZ" sz="22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971550" lvl="1" indent="-514350" algn="just">
              <a:lnSpc>
                <a:spcPct val="150000"/>
              </a:lnSpc>
              <a:buClr>
                <a:schemeClr val="tx2"/>
              </a:buClr>
              <a:buSzPct val="103000"/>
              <a:buFont typeface="+mj-lt"/>
              <a:buAutoNum type="romanUcPeriod"/>
            </a:pP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34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years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surance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quired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2017,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inal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tate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ill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ached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2018</a:t>
            </a:r>
          </a:p>
          <a:p>
            <a:pPr marL="514350" indent="-514350" algn="just">
              <a:lnSpc>
                <a:spcPct val="150000"/>
              </a:lnSpc>
              <a:buClr>
                <a:schemeClr val="tx2"/>
              </a:buClr>
              <a:buSzPct val="103000"/>
              <a:buFont typeface="+mj-lt"/>
              <a:buAutoNum type="arabicPeriod"/>
            </a:pP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duction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non-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ibutory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riods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2008)</a:t>
            </a:r>
          </a:p>
          <a:p>
            <a:pPr marL="971550" lvl="1" indent="-514350" algn="just">
              <a:lnSpc>
                <a:spcPct val="150000"/>
              </a:lnSpc>
              <a:buClr>
                <a:schemeClr val="tx2"/>
              </a:buClr>
              <a:buSzPct val="103000"/>
              <a:buFont typeface="+mj-lt"/>
              <a:buAutoNum type="romanUcPeriod"/>
            </a:pP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riods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llege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tudies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ill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not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unted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s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sured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riods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tarting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ith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2009</a:t>
            </a:r>
          </a:p>
          <a:p>
            <a:pPr marL="971550" lvl="1" indent="-514350" algn="just">
              <a:lnSpc>
                <a:spcPct val="150000"/>
              </a:lnSpc>
              <a:buClr>
                <a:schemeClr val="tx2"/>
              </a:buClr>
              <a:buSzPct val="103000"/>
              <a:buFont typeface="+mj-lt"/>
              <a:buAutoNum type="romanUcPeriod"/>
            </a:pP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nly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80 %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most non-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ibutory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riods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ill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aken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to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ccount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en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ssessing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pension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ntitlement</a:t>
            </a:r>
            <a:endParaRPr lang="cs-CZ" sz="22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514350" indent="-514350" algn="just">
              <a:lnSpc>
                <a:spcPct val="150000"/>
              </a:lnSpc>
              <a:buClr>
                <a:schemeClr val="tx2"/>
              </a:buClr>
              <a:buSzPct val="103000"/>
              <a:buFont typeface="+mj-lt"/>
              <a:buAutoNum type="arabicPeriod"/>
            </a:pP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ference period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xtension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2011)</a:t>
            </a:r>
          </a:p>
          <a:p>
            <a:pPr marL="971550" lvl="1" indent="-514350" algn="just">
              <a:lnSpc>
                <a:spcPct val="150000"/>
              </a:lnSpc>
              <a:buClr>
                <a:schemeClr val="tx2"/>
              </a:buClr>
              <a:buSzPct val="103000"/>
              <a:buFont typeface="+mj-lt"/>
              <a:buAutoNum type="romanUcPeriod"/>
            </a:pP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ference period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or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pension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alculation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actoring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historical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arnings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ing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xtended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o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ifelong</a:t>
            </a:r>
            <a:endParaRPr lang="cs-CZ" sz="22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cs-CZ" dirty="0" err="1" smtClean="0"/>
              <a:t>Other</a:t>
            </a:r>
            <a:r>
              <a:rPr lang="cs-CZ" dirty="0" smtClean="0"/>
              <a:t> </a:t>
            </a:r>
            <a:r>
              <a:rPr lang="cs-CZ" dirty="0" err="1" smtClean="0"/>
              <a:t>parameters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270927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00197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nsion policy in the EU context</a:t>
            </a: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pen method of coordination</a:t>
            </a: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U 2020 Strategy</a:t>
            </a: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uropean Semester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xpert Commission for Pension Reform</a:t>
            </a: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oals</a:t>
            </a: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tructure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easures implemented or debated during last decade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 smtClean="0"/>
              <a:t>Cont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0191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00197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AutoNum type="arabicPeriod"/>
            </a:pP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forms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2008 and 2011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moted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long-term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inancial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ustainability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nsions</a:t>
            </a:r>
            <a:endParaRPr lang="cs-CZ" sz="22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AutoNum type="arabicPeriod"/>
            </a:pPr>
            <a:r>
              <a:rPr lang="en-US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jected 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ong-term </a:t>
            </a:r>
            <a:r>
              <a:rPr lang="en-US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nsion system 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alance</a:t>
            </a:r>
            <a:r>
              <a:rPr lang="en-US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 2008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as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negative 4 – 5 % GDP</a:t>
            </a:r>
          </a:p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AutoNum type="arabicPeriod"/>
            </a:pP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jected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long-term pension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ystem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balance in 2015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as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0,5 % GDP</a:t>
            </a:r>
          </a:p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AutoNum type="arabicPeriod"/>
            </a:pP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nsion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dequacy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evel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nefits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as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jected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o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crease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by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pprox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 10 % (2015)</a:t>
            </a:r>
          </a:p>
          <a:p>
            <a:pPr marL="457200" indent="-457200" algn="just">
              <a:lnSpc>
                <a:spcPct val="150000"/>
              </a:lnSpc>
              <a:buClr>
                <a:schemeClr val="tx2"/>
              </a:buClr>
              <a:buSzPct val="103000"/>
              <a:buAutoNum type="arabicPeriod"/>
            </a:pP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form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versal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2017)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ill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teriorate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pension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ustainbility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utlook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ile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mproving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inancial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ituation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2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nsioners</a:t>
            </a:r>
            <a:r>
              <a:rPr lang="cs-CZ" sz="2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endParaRPr lang="en-US" sz="22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cs-CZ" dirty="0" err="1" smtClean="0"/>
              <a:t>Reforms</a:t>
            </a:r>
            <a:r>
              <a:rPr lang="en-US" dirty="0" smtClean="0"/>
              <a:t>’</a:t>
            </a:r>
            <a:r>
              <a:rPr lang="cs-CZ" dirty="0" smtClean="0"/>
              <a:t> </a:t>
            </a:r>
            <a:r>
              <a:rPr lang="cs-CZ" dirty="0" err="1" smtClean="0"/>
              <a:t>impact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703098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Before</a:t>
            </a:r>
            <a:r>
              <a:rPr lang="cs-CZ" dirty="0" smtClean="0"/>
              <a:t> 2008 </a:t>
            </a:r>
            <a:r>
              <a:rPr lang="cs-CZ" dirty="0" err="1" smtClean="0"/>
              <a:t>Reform</a:t>
            </a:r>
            <a:endParaRPr lang="cs-CZ" dirty="0"/>
          </a:p>
        </p:txBody>
      </p:sp>
      <p:pic>
        <p:nvPicPr>
          <p:cNvPr id="1716227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7409" y="981075"/>
            <a:ext cx="6811806" cy="5145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7643933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2008 </a:t>
            </a:r>
            <a:r>
              <a:rPr lang="cs-CZ" dirty="0" err="1" smtClean="0"/>
              <a:t>Reform</a:t>
            </a:r>
            <a:endParaRPr lang="cs-CZ" dirty="0"/>
          </a:p>
        </p:txBody>
      </p:sp>
      <p:pic>
        <p:nvPicPr>
          <p:cNvPr id="17162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7409" y="981075"/>
            <a:ext cx="6811806" cy="5145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2763181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2011 </a:t>
            </a:r>
            <a:r>
              <a:rPr lang="cs-CZ" dirty="0" err="1" smtClean="0"/>
              <a:t>Reform</a:t>
            </a:r>
            <a:endParaRPr lang="cs-CZ" dirty="0"/>
          </a:p>
        </p:txBody>
      </p:sp>
      <p:pic>
        <p:nvPicPr>
          <p:cNvPr id="17172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7409" y="981075"/>
            <a:ext cx="6811806" cy="5145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6228762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2017 </a:t>
            </a:r>
            <a:r>
              <a:rPr lang="cs-CZ" dirty="0" err="1" smtClean="0"/>
              <a:t>Reform</a:t>
            </a:r>
            <a:endParaRPr lang="cs-CZ" dirty="0"/>
          </a:p>
        </p:txBody>
      </p:sp>
      <p:pic>
        <p:nvPicPr>
          <p:cNvPr id="171827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7409" y="981075"/>
            <a:ext cx="6811806" cy="5145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9731051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cs-CZ" dirty="0" smtClean="0"/>
              <a:t>2nd </a:t>
            </a:r>
            <a:r>
              <a:rPr lang="cs-CZ" dirty="0" err="1" smtClean="0"/>
              <a:t>pillar</a:t>
            </a:r>
            <a:r>
              <a:rPr lang="cs-CZ" dirty="0" smtClean="0"/>
              <a:t> pension </a:t>
            </a:r>
            <a:r>
              <a:rPr lang="cs-CZ" dirty="0" err="1" smtClean="0"/>
              <a:t>epizode</a:t>
            </a:r>
            <a:r>
              <a:rPr lang="cs-CZ" dirty="0" smtClean="0"/>
              <a:t> – </a:t>
            </a:r>
            <a:r>
              <a:rPr lang="cs-CZ" dirty="0" err="1" smtClean="0"/>
              <a:t>pay</a:t>
            </a:r>
            <a:r>
              <a:rPr lang="cs-CZ" dirty="0" smtClean="0"/>
              <a:t> in </a:t>
            </a:r>
            <a:r>
              <a:rPr lang="cs-CZ" dirty="0" err="1" smtClean="0"/>
              <a:t>phase</a:t>
            </a:r>
            <a:endParaRPr lang="it-IT" dirty="0"/>
          </a:p>
        </p:txBody>
      </p:sp>
      <p:pic>
        <p:nvPicPr>
          <p:cNvPr id="17141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552" y="823092"/>
            <a:ext cx="7920879" cy="5118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11494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cs-CZ" dirty="0" smtClean="0"/>
              <a:t>2nd </a:t>
            </a:r>
            <a:r>
              <a:rPr lang="cs-CZ" dirty="0" err="1" smtClean="0"/>
              <a:t>pillar</a:t>
            </a:r>
            <a:r>
              <a:rPr lang="cs-CZ" dirty="0" smtClean="0"/>
              <a:t> pension </a:t>
            </a:r>
            <a:r>
              <a:rPr lang="cs-CZ" dirty="0" err="1" smtClean="0"/>
              <a:t>epizode</a:t>
            </a:r>
            <a:r>
              <a:rPr lang="cs-CZ" dirty="0" smtClean="0"/>
              <a:t> – </a:t>
            </a:r>
            <a:r>
              <a:rPr lang="cs-CZ" dirty="0" err="1" smtClean="0"/>
              <a:t>pay</a:t>
            </a:r>
            <a:r>
              <a:rPr lang="cs-CZ" dirty="0" smtClean="0"/>
              <a:t> </a:t>
            </a:r>
            <a:r>
              <a:rPr lang="cs-CZ" dirty="0" err="1" smtClean="0"/>
              <a:t>out</a:t>
            </a:r>
            <a:r>
              <a:rPr lang="cs-CZ" dirty="0" smtClean="0"/>
              <a:t> </a:t>
            </a:r>
            <a:r>
              <a:rPr lang="cs-CZ" dirty="0" err="1" smtClean="0"/>
              <a:t>phase</a:t>
            </a:r>
            <a:endParaRPr lang="it-IT" dirty="0"/>
          </a:p>
        </p:txBody>
      </p:sp>
      <p:pic>
        <p:nvPicPr>
          <p:cNvPr id="171520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569" y="873546"/>
            <a:ext cx="7488832" cy="492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09986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00197" cy="3754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endParaRPr lang="cs-CZ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cs-CZ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cs-CZ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ctr"/>
            <a:r>
              <a:rPr lang="cs-CZ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Jan Škorpík </a:t>
            </a:r>
            <a:r>
              <a:rPr lang="en-US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&amp; Marek </a:t>
            </a:r>
            <a:r>
              <a:rPr lang="en-US" sz="28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uchomel</a:t>
            </a:r>
            <a:endParaRPr lang="en-US" sz="28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ctr"/>
            <a:r>
              <a:rPr lang="en-US" sz="28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  <a:hlinkClick r:id="rId2"/>
              </a:rPr>
              <a:t>jan.skorpik@mpsv.c</a:t>
            </a:r>
            <a:r>
              <a:rPr lang="cs-CZ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  <a:hlinkClick r:id="rId2"/>
              </a:rPr>
              <a:t>z</a:t>
            </a:r>
            <a:endParaRPr lang="cs-CZ" sz="28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ctr"/>
            <a:r>
              <a:rPr lang="cs-CZ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  <a:hlinkClick r:id="rId3"/>
              </a:rPr>
              <a:t>marek.suchomel@mpsv.cz</a:t>
            </a:r>
            <a:endParaRPr lang="cs-CZ" sz="28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ctr"/>
            <a:endParaRPr lang="cs-CZ" sz="28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cs-CZ" dirty="0" err="1" smtClean="0"/>
              <a:t>Thank</a:t>
            </a:r>
            <a:r>
              <a:rPr lang="cs-CZ" dirty="0" smtClean="0"/>
              <a:t> </a:t>
            </a:r>
            <a:r>
              <a:rPr lang="cs-CZ" dirty="0" err="1" smtClean="0"/>
              <a:t>you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24239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00197" cy="38318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nsion policy as part of Social policy is not a common policy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nsion policy is fully in national competence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ubsidiarity principle is applied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pecial procedure called „Open method of coordination“ was built to discuss social field</a:t>
            </a: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ocial Protection Committee (SPC) was established as a forum for discussion</a:t>
            </a: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SPC – Indicators Subgroup – data and analysis support for SPC</a:t>
            </a: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PC – group AGE – Pension Adequacy Report preparatory body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geing Working Group – Ageing Report – public finances long term stability and sustainability perspective especially on age related public spending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cs-CZ" altLang="it-IT" dirty="0" smtClean="0"/>
              <a:t>Pension </a:t>
            </a:r>
            <a:r>
              <a:rPr lang="cs-CZ" altLang="it-IT" dirty="0" err="1" smtClean="0"/>
              <a:t>policy</a:t>
            </a:r>
            <a:r>
              <a:rPr lang="cs-CZ" altLang="it-IT" dirty="0" smtClean="0"/>
              <a:t> in </a:t>
            </a:r>
            <a:r>
              <a:rPr lang="cs-CZ" altLang="it-IT" dirty="0" err="1" smtClean="0"/>
              <a:t>the</a:t>
            </a:r>
            <a:r>
              <a:rPr lang="cs-CZ" altLang="it-IT" dirty="0" smtClean="0"/>
              <a:t> EU </a:t>
            </a:r>
            <a:r>
              <a:rPr lang="cs-CZ" altLang="it-IT" dirty="0" err="1" smtClean="0"/>
              <a:t>con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7390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00197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argets:</a:t>
            </a: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mployment</a:t>
            </a:r>
          </a:p>
          <a:p>
            <a:pPr marL="1257300" lvl="2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- 75% of people aged 20–64 to be in work</a:t>
            </a: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search and development (R&amp;D)</a:t>
            </a:r>
          </a:p>
          <a:p>
            <a:pPr marL="1257300" lvl="2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- 3% of the EU's GDP to be invested in R&amp;D</a:t>
            </a: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limate change and energy</a:t>
            </a:r>
          </a:p>
          <a:p>
            <a:pPr marL="1257300" lvl="2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- greenhouse gas emissions 20% lower than 1990 levels</a:t>
            </a:r>
          </a:p>
          <a:p>
            <a:pPr marL="1257300" lvl="2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- 20% of energy coming from renewables</a:t>
            </a:r>
          </a:p>
          <a:p>
            <a:pPr marL="1257300" lvl="2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- 20% increase in energy efficiency</a:t>
            </a: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ducation</a:t>
            </a:r>
          </a:p>
          <a:p>
            <a:pPr marL="1257300" lvl="2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- rates of early school leavers below 10%</a:t>
            </a:r>
          </a:p>
          <a:p>
            <a:pPr marL="1257300" lvl="2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- at least 40% of people aged 30–34 having completed higher education</a:t>
            </a: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overty and social exclusion</a:t>
            </a:r>
          </a:p>
          <a:p>
            <a:pPr marL="1257300" lvl="2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- at least 20 million fewer people in – or at risk of – poverty/social exclusion</a:t>
            </a: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cs-CZ" altLang="it-IT" dirty="0" smtClean="0"/>
              <a:t>EU 2020 </a:t>
            </a:r>
            <a:r>
              <a:rPr lang="cs-CZ" altLang="it-IT" dirty="0" err="1" smtClean="0"/>
              <a:t>Strateg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5759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00197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oals of the European Semester</a:t>
            </a: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nsuring sound public finances (avoiding excessive government debt)</a:t>
            </a: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eventing excessive macroeconomic imbalances in the EU supporting</a:t>
            </a: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tructural reforms, to create more jobs and growth</a:t>
            </a: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oosting investment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cs-CZ" altLang="it-IT" dirty="0" err="1" smtClean="0"/>
              <a:t>European</a:t>
            </a:r>
            <a:r>
              <a:rPr lang="cs-CZ" altLang="it-IT" dirty="0" smtClean="0"/>
              <a:t> </a:t>
            </a:r>
            <a:r>
              <a:rPr lang="cs-CZ" altLang="it-IT" dirty="0" err="1" smtClean="0"/>
              <a:t>semes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5925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00197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ole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 the Commission</a:t>
            </a: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ach year, the Commission undertakes a detailed analysis of each country's plans for budget, macroeconomic and structural reforms. It then provides EU governments with country-specific recommendations for the next 12-18 months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t also monitors EU countries' efforts towards the "Europe 2020" targets.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ole of the Council</a:t>
            </a: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Commission proposals are endorsed and formally adopted by the Council. 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ole of EU governments</a:t>
            </a: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ny policy decisions in response to the country-specific recommendations are made by the national government in question, based on whatever action they deem appropriate</a:t>
            </a: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cs-CZ" altLang="it-IT" dirty="0" err="1" smtClean="0"/>
              <a:t>European</a:t>
            </a:r>
            <a:r>
              <a:rPr lang="cs-CZ" altLang="it-IT" dirty="0" smtClean="0"/>
              <a:t> </a:t>
            </a:r>
            <a:r>
              <a:rPr lang="cs-CZ" altLang="it-IT" dirty="0" err="1" smtClean="0"/>
              <a:t>semes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3008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00197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11 -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mplement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planned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nsion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form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 order to improve the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ong-term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ustainability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 public finances and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o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nsure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future adequacy of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nsions.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dditional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fforts should focus on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urther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hanges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o the public pillar to ensure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at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ystem is not a source of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iscal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mbalances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 the future, and on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velopment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 private savings. With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view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o raising the effective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tirement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ge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measures such as a link between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tatutory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tirement age and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ife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xpectancy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uld be considered.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nsure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at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envisaged funded scheme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ttracts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road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articipation, and is designed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o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keep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dministrative costs transparent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nd</a:t>
            </a:r>
            <a:r>
              <a:rPr lang="cs-CZ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ow</a:t>
            </a:r>
            <a:endParaRPr lang="cs-CZ" sz="16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12 - I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troduce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urther changes to the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ublic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nsion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cheme to ensure its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ong-term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ustainability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 Reconsider plans to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llow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n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arlier exit from the </a:t>
            </a:r>
            <a:r>
              <a:rPr lang="en-US" sz="16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abour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arket.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mote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ffective participation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younger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orkers in the envisaged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unded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cheme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o improve adequacy of pensions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</a:t>
            </a:r>
            <a:endParaRPr lang="cs-CZ" sz="16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13 -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crease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effective retirement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ge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y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ligning retirement age or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nsion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nefits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o changes in life expectancy,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nd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view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indexation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echanism.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ccompany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increase in retirement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ge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ith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easures promoting employability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lder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orkers and reduce early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xit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athways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 In particular, remove the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ublic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ubsidy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or the pre-retirement scheme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</a:t>
            </a:r>
            <a:endParaRPr lang="cs-CZ" sz="16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14 -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nsure the long-term sustainability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ublic pension scheme, in particular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y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ccelerating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increase of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tatutory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tirement age and then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y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inking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t more clearly to changes in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ife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xpectancy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 Promote the employability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lder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orkers and review the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nsion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dexation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echanism. </a:t>
            </a:r>
            <a:endParaRPr lang="cs-CZ" sz="16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17 -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nsure the long-term sustainability of public finances, in view of the ageing population. </a:t>
            </a:r>
            <a:endParaRPr lang="cs-CZ" sz="16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cs-CZ" dirty="0" err="1" smtClean="0"/>
              <a:t>Council</a:t>
            </a:r>
            <a:r>
              <a:rPr lang="cs-CZ" dirty="0" smtClean="0"/>
              <a:t> Country </a:t>
            </a:r>
            <a:r>
              <a:rPr lang="cs-CZ" dirty="0" err="1" smtClean="0"/>
              <a:t>Specific</a:t>
            </a:r>
            <a:r>
              <a:rPr lang="cs-CZ" dirty="0" smtClean="0"/>
              <a:t> </a:t>
            </a:r>
            <a:r>
              <a:rPr lang="cs-CZ" dirty="0" err="1" smtClean="0"/>
              <a:t>Recommendations</a:t>
            </a:r>
            <a:r>
              <a:rPr lang="cs-CZ" dirty="0" smtClean="0"/>
              <a:t> </a:t>
            </a:r>
            <a:r>
              <a:rPr lang="cs-CZ" dirty="0" err="1" smtClean="0"/>
              <a:t>for</a:t>
            </a:r>
            <a:r>
              <a:rPr lang="cs-CZ" dirty="0" smtClean="0"/>
              <a:t> CZ in </a:t>
            </a:r>
            <a:r>
              <a:rPr lang="cs-CZ" dirty="0" err="1" smtClean="0"/>
              <a:t>Pensio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1169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00197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main objective of the Expert Committee shall be to prepare a comprehensive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nd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terrelated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et of specific proposals to change the pension system in a broader social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nd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conomic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ext </a:t>
            </a:r>
            <a:endParaRPr lang="cs-CZ" sz="16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cs-CZ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pecific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cs-CZ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bjectives</a:t>
            </a:r>
            <a:endParaRPr lang="cs-CZ" sz="16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echanism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 a periodic assessment of the retirement age setup;</a:t>
            </a: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dexation mechanism that ensures appropriate and dignified amount of pension income throughout its payment;</a:t>
            </a: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ethod of termination of the system of pension savings (i.e. Pillar II);</a:t>
            </a: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etup of parameters of the pension system leading towards reinforcement of the principle of merit without any negative impact on the welfare of pensioners;</a:t>
            </a: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hanges in the parameters of supplementary pension systems in order to encourage forming of long-term savings for retirement (i.e. Pillar III);</a:t>
            </a: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uch transfers among citizens, families and the state mediated by the pension system that will ensure a balanced status of all types of households.</a:t>
            </a: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cs-CZ" dirty="0"/>
              <a:t>Expert </a:t>
            </a:r>
            <a:r>
              <a:rPr lang="cs-CZ" dirty="0" err="1"/>
              <a:t>Commission</a:t>
            </a:r>
            <a:r>
              <a:rPr lang="cs-CZ" dirty="0"/>
              <a:t> </a:t>
            </a:r>
            <a:r>
              <a:rPr lang="cs-CZ" dirty="0" err="1"/>
              <a:t>for</a:t>
            </a:r>
            <a:r>
              <a:rPr lang="cs-CZ" dirty="0"/>
              <a:t> Pension </a:t>
            </a:r>
            <a:r>
              <a:rPr lang="cs-CZ" dirty="0" err="1" smtClean="0"/>
              <a:t>Refor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1829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00197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Expert Committee is a collective body composed of permanent members and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ssociate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embers.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rmanent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embers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re</a:t>
            </a:r>
            <a:endParaRPr lang="cs-CZ" sz="16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hairman of the Expert Commission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</a:t>
            </a:r>
            <a:endParaRPr lang="cs-CZ" sz="16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presentatives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olitical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arties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presented in the Chamber of Deputies of the Parliament of the Czech Republic,</a:t>
            </a: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presentatives of trade unions, </a:t>
            </a:r>
            <a:endParaRPr lang="cs-CZ" sz="16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presentatives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 employers' </a:t>
            </a:r>
            <a:r>
              <a:rPr lang="en-US" sz="16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rganisations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nd</a:t>
            </a:r>
            <a:endParaRPr lang="cs-CZ" sz="16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xperts from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ields of sociology, demography and economics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</a:t>
            </a:r>
            <a:endParaRPr lang="cs-CZ" sz="16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ssociate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embers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re</a:t>
            </a:r>
            <a:endParaRPr lang="cs-CZ" sz="16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presentative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zech Statistical Office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</a:t>
            </a:r>
            <a:endParaRPr lang="cs-CZ" sz="16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presentative of the Czech Council for Senior Citizens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</a:t>
            </a:r>
            <a:endParaRPr lang="cs-CZ" sz="16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presentative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 the National Centre for Family, </a:t>
            </a:r>
            <a:endParaRPr lang="cs-CZ" sz="16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presentative of the Czech Women's Lobby,</a:t>
            </a: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 representative of the Association of Pension Funds of the Czech Republic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nd</a:t>
            </a:r>
            <a:endParaRPr lang="cs-CZ" sz="16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</a:t>
            </a:r>
            <a:r>
              <a:rPr lang="cs-CZ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presentative 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 the Czech Insurance Association. </a:t>
            </a: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cs-CZ" dirty="0"/>
              <a:t>Expert </a:t>
            </a:r>
            <a:r>
              <a:rPr lang="cs-CZ" dirty="0" err="1"/>
              <a:t>Commission</a:t>
            </a:r>
            <a:r>
              <a:rPr lang="cs-CZ" dirty="0"/>
              <a:t> </a:t>
            </a:r>
            <a:r>
              <a:rPr lang="cs-CZ" dirty="0" err="1"/>
              <a:t>for</a:t>
            </a:r>
            <a:r>
              <a:rPr lang="cs-CZ" dirty="0"/>
              <a:t> Pension </a:t>
            </a:r>
            <a:r>
              <a:rPr lang="cs-CZ" dirty="0" err="1" smtClean="0"/>
              <a:t>Refor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3401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theme1.xml><?xml version="1.0" encoding="utf-8"?>
<a:theme xmlns:a="http://schemas.openxmlformats.org/drawingml/2006/main" name="SPRP_Correct Power Point Template v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PRP_Correct Power Point Template v1</Template>
  <TotalTime>7214</TotalTime>
  <Words>1574</Words>
  <Application>Microsoft Office PowerPoint</Application>
  <PresentationFormat>A4 (210 x 297 mm)</PresentationFormat>
  <Paragraphs>197</Paragraphs>
  <Slides>27</Slides>
  <Notes>1</Notes>
  <HiddenSlides>0</HiddenSlides>
  <MMClips>0</MMClips>
  <ScaleCrop>false</ScaleCrop>
  <HeadingPairs>
    <vt:vector size="8" baseType="variant"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27</vt:i4>
      </vt:variant>
      <vt:variant>
        <vt:lpstr>Vlastní prezentace</vt:lpstr>
      </vt:variant>
      <vt:variant>
        <vt:i4>1</vt:i4>
      </vt:variant>
    </vt:vector>
  </HeadingPairs>
  <TitlesOfParts>
    <vt:vector size="30" baseType="lpstr">
      <vt:lpstr>SPRP_Correct Power Point Template v1</vt:lpstr>
      <vt:lpstr>think-cell Slide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Before 2008 Reform</vt:lpstr>
      <vt:lpstr>2008 Reform</vt:lpstr>
      <vt:lpstr>2011 Reform</vt:lpstr>
      <vt:lpstr>2017 Reform</vt:lpstr>
      <vt:lpstr>Prezentace aplikace PowerPoint</vt:lpstr>
      <vt:lpstr>Prezentace aplikace PowerPoint</vt:lpstr>
      <vt:lpstr>Prezentace aplikace PowerPoint</vt:lpstr>
      <vt:lpstr>Custom Show 1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RP-BJ User</dc:creator>
  <cp:lastModifiedBy>Škorpík Jan (MPSV)</cp:lastModifiedBy>
  <cp:revision>20</cp:revision>
  <cp:lastPrinted>2015-01-26T19:32:44Z</cp:lastPrinted>
  <dcterms:created xsi:type="dcterms:W3CDTF">2015-09-07T02:11:56Z</dcterms:created>
  <dcterms:modified xsi:type="dcterms:W3CDTF">2017-09-11T13:46:04Z</dcterms:modified>
</cp:coreProperties>
</file>